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69" r:id="rId1"/>
  </p:sldMasterIdLst>
  <p:notesMasterIdLst>
    <p:notesMasterId r:id="rId16"/>
  </p:notesMasterIdLst>
  <p:handoutMasterIdLst>
    <p:handoutMasterId r:id="rId17"/>
  </p:handoutMasterIdLst>
  <p:sldIdLst>
    <p:sldId id="325" r:id="rId2"/>
    <p:sldId id="326" r:id="rId3"/>
    <p:sldId id="341" r:id="rId4"/>
    <p:sldId id="352" r:id="rId5"/>
    <p:sldId id="351" r:id="rId6"/>
    <p:sldId id="342" r:id="rId7"/>
    <p:sldId id="343" r:id="rId8"/>
    <p:sldId id="345" r:id="rId9"/>
    <p:sldId id="344" r:id="rId10"/>
    <p:sldId id="346" r:id="rId11"/>
    <p:sldId id="350" r:id="rId12"/>
    <p:sldId id="348" r:id="rId13"/>
    <p:sldId id="353" r:id="rId14"/>
    <p:sldId id="349" r:id="rId15"/>
  </p:sldIdLst>
  <p:sldSz cx="12192000" cy="6858000"/>
  <p:notesSz cx="6858000" cy="9926638"/>
  <p:custDataLst>
    <p:tags r:id="rId18"/>
  </p:custDataLst>
  <p:defaultTextStyle>
    <a:defPPr>
      <a:defRPr lang="en-US"/>
    </a:defPPr>
    <a:lvl1pPr marL="0" indent="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accent1"/>
      </a:buClr>
      <a:buSzPct val="100000"/>
      <a:buFontTx/>
      <a:buNone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1pPr>
    <a:lvl2pPr marL="18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2"/>
      </a:buClr>
      <a:buSzPct val="100000"/>
      <a:buFont typeface="Wingdings" pitchFamily="2" charset="2"/>
      <a:buChar char="§"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2pPr>
    <a:lvl3pPr marL="36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1"/>
      </a:buClr>
      <a:buSzPct val="100000"/>
      <a:buFont typeface="Arial" pitchFamily="34" charset="0"/>
      <a:buChar char="–"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3pPr>
    <a:lvl4pPr marL="54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1"/>
      </a:buClr>
      <a:buSzPct val="100000"/>
      <a:buFont typeface="Arial" pitchFamily="34" charset="0"/>
      <a:buChar char="•"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4pPr>
    <a:lvl5pPr marL="72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1"/>
      </a:buClr>
      <a:buSzPct val="100000"/>
      <a:buFont typeface="Arial" pitchFamily="34" charset="0"/>
      <a:buChar char="–"/>
      <a:defRPr lang="en-US" sz="1600" b="0" i="0" dirty="0">
        <a:solidFill>
          <a:schemeClr val="tx1"/>
        </a:solidFill>
        <a:latin typeface="+mn-lt"/>
        <a:ea typeface="+mn-ea"/>
        <a:cs typeface="+mn-cs"/>
      </a:defRPr>
    </a:lvl5pPr>
    <a:lvl6pPr marL="20050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6pPr>
    <a:lvl7pPr marL="24622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7pPr>
    <a:lvl8pPr marL="29194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8pPr>
    <a:lvl9pPr marL="33766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 userDrawn="1">
          <p15:clr>
            <a:srgbClr val="A4A3A4"/>
          </p15:clr>
        </p15:guide>
        <p15:guide id="2" orient="horz" pos="890" userDrawn="1">
          <p15:clr>
            <a:srgbClr val="A4A3A4"/>
          </p15:clr>
        </p15:guide>
        <p15:guide id="3" orient="horz" pos="3758" userDrawn="1">
          <p15:clr>
            <a:srgbClr val="A4A3A4"/>
          </p15:clr>
        </p15:guide>
        <p15:guide id="4" pos="310" userDrawn="1">
          <p15:clr>
            <a:srgbClr val="A4A3A4"/>
          </p15:clr>
        </p15:guide>
        <p15:guide id="5" pos="7385" userDrawn="1">
          <p15:clr>
            <a:srgbClr val="A4A3A4"/>
          </p15:clr>
        </p15:guide>
        <p15:guide id="6" pos="13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6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000000"/>
    <a:srgbClr val="E4E4E4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 autoAdjust="0"/>
  </p:normalViewPr>
  <p:slideViewPr>
    <p:cSldViewPr snapToObjects="1" showGuides="1">
      <p:cViewPr varScale="1">
        <p:scale>
          <a:sx n="88" d="100"/>
          <a:sy n="88" d="100"/>
        </p:scale>
        <p:origin x="576" y="96"/>
      </p:cViewPr>
      <p:guideLst>
        <p:guide orient="horz" pos="672"/>
        <p:guide orient="horz" pos="890"/>
        <p:guide orient="horz" pos="3758"/>
        <p:guide pos="310"/>
        <p:guide pos="7385"/>
        <p:guide pos="13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Objects="1" showGuides="1">
      <p:cViewPr varScale="1">
        <p:scale>
          <a:sx n="84" d="100"/>
          <a:sy n="84" d="100"/>
        </p:scale>
        <p:origin x="-3804" y="-72"/>
      </p:cViewPr>
      <p:guideLst>
        <p:guide orient="horz" pos="2880"/>
        <p:guide pos="2160"/>
        <p:guide orient="horz" pos="3127"/>
        <p:guide pos="216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23663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15154"/>
            <a:ext cx="5486400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290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0"/>
      </a:spcBef>
      <a:spcAft>
        <a:spcPts val="600"/>
      </a:spcAft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38138" indent="-112713" algn="l" defTabSz="914400" rtl="0" eaLnBrk="1" latinLnBrk="0" hangingPunct="1">
      <a:spcBef>
        <a:spcPts val="0"/>
      </a:spcBef>
      <a:spcAft>
        <a:spcPts val="600"/>
      </a:spcAft>
      <a:buFont typeface="Arial" pitchFamily="34" charset="0"/>
      <a:buChar char="•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519113" indent="-125413" algn="l" defTabSz="914400" rtl="0" eaLnBrk="1" latinLnBrk="0" hangingPunct="1">
      <a:spcBef>
        <a:spcPts val="0"/>
      </a:spcBef>
      <a:spcAft>
        <a:spcPts val="600"/>
      </a:spcAft>
      <a:buFont typeface="Arial" pitchFamily="34" charset="0"/>
      <a:buChar char="−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693738" indent="-117475" algn="l" defTabSz="914400" rtl="0" eaLnBrk="1" latinLnBrk="0" hangingPunct="1">
      <a:spcBef>
        <a:spcPts val="0"/>
      </a:spcBef>
      <a:spcAft>
        <a:spcPts val="600"/>
      </a:spcAft>
      <a:buFont typeface="Courier New" pitchFamily="49" charset="0"/>
      <a:buChar char="o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857250" indent="-112713" algn="l" defTabSz="914400" rtl="0" eaLnBrk="1" latinLnBrk="0" hangingPunct="1">
      <a:spcBef>
        <a:spcPts val="0"/>
      </a:spcBef>
      <a:spcAft>
        <a:spcPts val="600"/>
      </a:spcAft>
      <a:buFont typeface="Arial" pitchFamily="34" charset="0"/>
      <a:buChar char="•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981075"/>
            <a:ext cx="12240684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74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n-GB" altLang="fr-FR" sz="2215" kern="1200" dirty="0" smtClean="0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855" y="258769"/>
            <a:ext cx="1915583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5689600" y="6659563"/>
            <a:ext cx="814917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62737" fontAlgn="auto"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GB" sz="2215" kern="1200" dirty="0">
              <a:solidFill>
                <a:srgbClr val="FFFFFF"/>
              </a:solidFill>
              <a:sym typeface="Gill Sans" charset="0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327650" y="2565406"/>
            <a:ext cx="6720416" cy="790575"/>
          </a:xfrm>
          <a:prstGeom prst="rect">
            <a:avLst/>
          </a:prstGeom>
        </p:spPr>
        <p:txBody>
          <a:bodyPr/>
          <a:lstStyle>
            <a:lvl1pPr marL="3908">
              <a:defRPr sz="9354">
                <a:solidFill>
                  <a:srgbClr val="FFD624"/>
                </a:solidFill>
              </a:defRPr>
            </a:lvl1pPr>
          </a:lstStyle>
          <a:p>
            <a:pPr lvl="0"/>
            <a:r>
              <a:rPr lang="en-GB" altLang="fr-FR" noProof="0" dirty="0" smtClean="0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814917" y="3716344"/>
            <a:ext cx="11377083" cy="17287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692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fr-FR" noProof="0" dirty="0" smtClean="0"/>
              <a:t>Click to edit Master subtitle style</a:t>
            </a:r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 sz="1477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fld id="{78EEDD75-88BC-4436-93CA-49CE1DA40F25}" type="slidenum">
              <a:rPr lang="en-GB" altLang="fr-FR">
                <a:solidFill>
                  <a:srgbClr val="FFFFFF"/>
                </a:solidFill>
              </a:rPr>
              <a:pPr/>
              <a:t>‹#›</a:t>
            </a:fld>
            <a:endParaRPr lang="en-GB" alt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428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492381"/>
            <a:ext cx="10972800" cy="35290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44F876B-9E3B-4724-A56B-C690C78614CF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206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20151" y="1339850"/>
            <a:ext cx="2762250" cy="4681538"/>
          </a:xfrm>
          <a:prstGeom prst="rect">
            <a:avLst/>
          </a:prstGeom>
        </p:spPr>
        <p:txBody>
          <a:bodyPr vert="eaVert"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7051" y="1339850"/>
            <a:ext cx="8089900" cy="46815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3214622C-8776-45F9-B191-49F33FB9FA6D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371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492381"/>
            <a:ext cx="10972800" cy="35290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6AB10BA-40BC-49D9-8313-BE9ACC7EDE04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737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923" b="1" cap="all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62"/>
            </a:lvl1pPr>
            <a:lvl2pPr marL="562737" indent="0">
              <a:buNone/>
              <a:defRPr sz="2215"/>
            </a:lvl2pPr>
            <a:lvl3pPr marL="1125472" indent="0">
              <a:buNone/>
              <a:defRPr sz="1969"/>
            </a:lvl3pPr>
            <a:lvl4pPr marL="1688207" indent="0">
              <a:buNone/>
              <a:defRPr sz="1723"/>
            </a:lvl4pPr>
            <a:lvl5pPr marL="2250944" indent="0">
              <a:buNone/>
              <a:defRPr sz="1723"/>
            </a:lvl5pPr>
            <a:lvl6pPr marL="2813679" indent="0">
              <a:buNone/>
              <a:defRPr sz="1723"/>
            </a:lvl6pPr>
            <a:lvl7pPr marL="3376415" indent="0">
              <a:buNone/>
              <a:defRPr sz="1723"/>
            </a:lvl7pPr>
            <a:lvl8pPr marL="3939151" indent="0">
              <a:buNone/>
              <a:defRPr sz="1723"/>
            </a:lvl8pPr>
            <a:lvl9pPr marL="4501886" indent="0">
              <a:buNone/>
              <a:defRPr sz="1723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6F51819C-5597-4D30-A0BD-468FF57FD223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571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492381"/>
            <a:ext cx="5384800" cy="352901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492381"/>
            <a:ext cx="5384800" cy="352901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59263F2F-EEF0-4BD0-ACAD-381A9D2B12E5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784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37" indent="0">
              <a:buNone/>
              <a:defRPr sz="2462" b="1"/>
            </a:lvl2pPr>
            <a:lvl3pPr marL="1125472" indent="0">
              <a:buNone/>
              <a:defRPr sz="2215" b="1"/>
            </a:lvl3pPr>
            <a:lvl4pPr marL="1688207" indent="0">
              <a:buNone/>
              <a:defRPr sz="1969" b="1"/>
            </a:lvl4pPr>
            <a:lvl5pPr marL="2250944" indent="0">
              <a:buNone/>
              <a:defRPr sz="1969" b="1"/>
            </a:lvl5pPr>
            <a:lvl6pPr marL="2813679" indent="0">
              <a:buNone/>
              <a:defRPr sz="1969" b="1"/>
            </a:lvl6pPr>
            <a:lvl7pPr marL="3376415" indent="0">
              <a:buNone/>
              <a:defRPr sz="1969" b="1"/>
            </a:lvl7pPr>
            <a:lvl8pPr marL="3939151" indent="0">
              <a:buNone/>
              <a:defRPr sz="1969" b="1"/>
            </a:lvl8pPr>
            <a:lvl9pPr marL="4501886" indent="0">
              <a:buNone/>
              <a:defRPr sz="1969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37" indent="0">
              <a:buNone/>
              <a:defRPr sz="2462" b="1"/>
            </a:lvl2pPr>
            <a:lvl3pPr marL="1125472" indent="0">
              <a:buNone/>
              <a:defRPr sz="2215" b="1"/>
            </a:lvl3pPr>
            <a:lvl4pPr marL="1688207" indent="0">
              <a:buNone/>
              <a:defRPr sz="1969" b="1"/>
            </a:lvl4pPr>
            <a:lvl5pPr marL="2250944" indent="0">
              <a:buNone/>
              <a:defRPr sz="1969" b="1"/>
            </a:lvl5pPr>
            <a:lvl6pPr marL="2813679" indent="0">
              <a:buNone/>
              <a:defRPr sz="1969" b="1"/>
            </a:lvl6pPr>
            <a:lvl7pPr marL="3376415" indent="0">
              <a:buNone/>
              <a:defRPr sz="1969" b="1"/>
            </a:lvl7pPr>
            <a:lvl8pPr marL="3939151" indent="0">
              <a:buNone/>
              <a:defRPr sz="1969" b="1"/>
            </a:lvl8pPr>
            <a:lvl9pPr marL="4501886" indent="0">
              <a:buNone/>
              <a:defRPr sz="1969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6F868A78-9FE8-4CA1-AF1B-109667539968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756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CC9EC7C5-120D-4112-82B5-D23F1382BB6D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155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277D5AD-C6FB-4DEE-870E-E95E110A4D89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751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6"/>
            <a:ext cx="6815666" cy="5853113"/>
          </a:xfrm>
          <a:prstGeom prst="rect">
            <a:avLst/>
          </a:prstGeo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37" indent="0">
              <a:buNone/>
              <a:defRPr sz="1477"/>
            </a:lvl2pPr>
            <a:lvl3pPr marL="1125472" indent="0">
              <a:buNone/>
              <a:defRPr sz="1231"/>
            </a:lvl3pPr>
            <a:lvl4pPr marL="1688207" indent="0">
              <a:buNone/>
              <a:defRPr sz="1108"/>
            </a:lvl4pPr>
            <a:lvl5pPr marL="2250944" indent="0">
              <a:buNone/>
              <a:defRPr sz="1108"/>
            </a:lvl5pPr>
            <a:lvl6pPr marL="2813679" indent="0">
              <a:buNone/>
              <a:defRPr sz="1108"/>
            </a:lvl6pPr>
            <a:lvl7pPr marL="3376415" indent="0">
              <a:buNone/>
              <a:defRPr sz="1108"/>
            </a:lvl7pPr>
            <a:lvl8pPr marL="3939151" indent="0">
              <a:buNone/>
              <a:defRPr sz="1108"/>
            </a:lvl8pPr>
            <a:lvl9pPr marL="4501886" indent="0">
              <a:buNone/>
              <a:defRPr sz="1108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19606702-55ED-48C4-8FC3-E0F8612D80A1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732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39"/>
            </a:lvl1pPr>
            <a:lvl2pPr marL="562737" indent="0">
              <a:buNone/>
              <a:defRPr sz="3446"/>
            </a:lvl2pPr>
            <a:lvl3pPr marL="1125472" indent="0">
              <a:buNone/>
              <a:defRPr sz="2954"/>
            </a:lvl3pPr>
            <a:lvl4pPr marL="1688207" indent="0">
              <a:buNone/>
              <a:defRPr sz="2462"/>
            </a:lvl4pPr>
            <a:lvl5pPr marL="2250944" indent="0">
              <a:buNone/>
              <a:defRPr sz="2462"/>
            </a:lvl5pPr>
            <a:lvl6pPr marL="2813679" indent="0">
              <a:buNone/>
              <a:defRPr sz="2462"/>
            </a:lvl6pPr>
            <a:lvl7pPr marL="3376415" indent="0">
              <a:buNone/>
              <a:defRPr sz="2462"/>
            </a:lvl7pPr>
            <a:lvl8pPr marL="3939151" indent="0">
              <a:buNone/>
              <a:defRPr sz="2462"/>
            </a:lvl8pPr>
            <a:lvl9pPr marL="4501886" indent="0">
              <a:buNone/>
              <a:defRPr sz="2462"/>
            </a:lvl9pPr>
          </a:lstStyle>
          <a:p>
            <a:pPr lvl="0"/>
            <a:r>
              <a:rPr lang="en-GB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37" indent="0">
              <a:buNone/>
              <a:defRPr sz="1477"/>
            </a:lvl2pPr>
            <a:lvl3pPr marL="1125472" indent="0">
              <a:buNone/>
              <a:defRPr sz="1231"/>
            </a:lvl3pPr>
            <a:lvl4pPr marL="1688207" indent="0">
              <a:buNone/>
              <a:defRPr sz="1108"/>
            </a:lvl4pPr>
            <a:lvl5pPr marL="2250944" indent="0">
              <a:buNone/>
              <a:defRPr sz="1108"/>
            </a:lvl5pPr>
            <a:lvl6pPr marL="2813679" indent="0">
              <a:buNone/>
              <a:defRPr sz="1108"/>
            </a:lvl6pPr>
            <a:lvl7pPr marL="3376415" indent="0">
              <a:buNone/>
              <a:defRPr sz="1108"/>
            </a:lvl7pPr>
            <a:lvl8pPr marL="3939151" indent="0">
              <a:buNone/>
              <a:defRPr sz="1108"/>
            </a:lvl8pPr>
            <a:lvl9pPr marL="4501886" indent="0">
              <a:buNone/>
              <a:defRPr sz="1108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A3B1722-3C46-44A8-BCDA-06D1B0A0D2D4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8599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88178881"/>
              </p:ext>
            </p:ext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4237" y="3181"/>
            <a:ext cx="12187763" cy="685481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09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hf sldNum="0" hdr="0" ftr="0" dt="0"/>
  <p:txStyles>
    <p:titleStyle>
      <a:lvl1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+mj-lt"/>
          <a:ea typeface="+mj-ea"/>
          <a:cs typeface="+mj-cs"/>
        </a:defRPr>
      </a:lvl1pPr>
      <a:lvl2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2pPr>
      <a:lvl3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3pPr>
      <a:lvl4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4pPr>
      <a:lvl5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5pPr>
      <a:lvl6pPr marL="1004327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6pPr>
      <a:lvl7pPr marL="1567063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7pPr>
      <a:lvl8pPr marL="2129800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8pPr>
      <a:lvl9pPr marL="2692534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9pPr>
    </p:titleStyle>
    <p:bodyStyle>
      <a:lvl1pPr marL="422051" indent="-422051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954" i="1">
          <a:solidFill>
            <a:srgbClr val="0F5494"/>
          </a:solidFill>
          <a:latin typeface="+mn-lt"/>
          <a:ea typeface="+mn-ea"/>
          <a:cs typeface="+mn-cs"/>
        </a:defRPr>
      </a:lvl1pPr>
      <a:lvl2pPr marL="914446" indent="-35171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462" b="1">
          <a:solidFill>
            <a:srgbClr val="0F5494"/>
          </a:solidFill>
          <a:latin typeface="+mn-lt"/>
        </a:defRPr>
      </a:lvl2pPr>
      <a:lvl3pPr marL="1406839" indent="-281368" algn="l" rtl="0" eaLnBrk="0" fontAlgn="base" hangingPunct="0">
        <a:spcBef>
          <a:spcPct val="20000"/>
        </a:spcBef>
        <a:spcAft>
          <a:spcPct val="0"/>
        </a:spcAft>
        <a:defRPr sz="1723">
          <a:solidFill>
            <a:srgbClr val="0F5494"/>
          </a:solidFill>
          <a:latin typeface="+mn-lt"/>
        </a:defRPr>
      </a:lvl3pPr>
      <a:lvl4pPr marL="1969575" indent="-281368" algn="l" rtl="0" eaLnBrk="0" fontAlgn="base" hangingPunct="0">
        <a:spcBef>
          <a:spcPct val="20000"/>
        </a:spcBef>
        <a:spcAft>
          <a:spcPct val="0"/>
        </a:spcAft>
        <a:buChar char="–"/>
        <a:defRPr sz="2462">
          <a:solidFill>
            <a:schemeClr val="tx1"/>
          </a:solidFill>
          <a:latin typeface="Arial" charset="0"/>
        </a:defRPr>
      </a:lvl4pPr>
      <a:lvl5pPr marL="2532312" indent="-281368" algn="l" rtl="0" eaLnBrk="0" fontAlgn="base" hangingPunct="0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5pPr>
      <a:lvl6pPr marL="3095047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6pPr>
      <a:lvl7pPr marL="3657783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7pPr>
      <a:lvl8pPr marL="4220519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8pPr>
      <a:lvl9pPr marL="4783254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37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72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07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944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79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415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151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886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wmv"/><Relationship Id="rId1" Type="http://schemas.microsoft.com/office/2007/relationships/media" Target="../media/media3.wmv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wmv"/><Relationship Id="rId1" Type="http://schemas.microsoft.com/office/2007/relationships/media" Target="../media/media4.wmv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wmv"/><Relationship Id="rId1" Type="http://schemas.microsoft.com/office/2007/relationships/media" Target="../media/media2.wmv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6029" y="3200400"/>
            <a:ext cx="9395883" cy="790575"/>
          </a:xfrm>
        </p:spPr>
        <p:txBody>
          <a:bodyPr/>
          <a:lstStyle/>
          <a:p>
            <a:pPr marL="0" indent="0" algn="ctr"/>
            <a:r>
              <a:rPr lang="en-GB" sz="2800" dirty="0" smtClean="0"/>
              <a:t>Delegation workshop – Vision 2020 – Wednesday 25/11/2020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516285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5. ENDING- Success for Etienne with Opsys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980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To summarize, </a:t>
            </a:r>
            <a:r>
              <a:rPr lang="en-GB" sz="2800" dirty="0" err="1" smtClean="0">
                <a:solidFill>
                  <a:schemeClr val="bg1"/>
                </a:solidFill>
                <a:latin typeface="+mj-lt"/>
              </a:rPr>
              <a:t>Opsys</a:t>
            </a: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 helped Etienne to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45511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0" y="1447800"/>
            <a:ext cx="2981325" cy="337221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343400" y="613292"/>
            <a:ext cx="39311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GB" dirty="0" smtClean="0">
                <a:solidFill>
                  <a:schemeClr val="bg1"/>
                </a:solidFill>
              </a:rPr>
              <a:t>Focus </a:t>
            </a:r>
            <a:r>
              <a:rPr lang="en-GB" dirty="0">
                <a:solidFill>
                  <a:schemeClr val="bg1"/>
                </a:solidFill>
              </a:rPr>
              <a:t>on </a:t>
            </a:r>
            <a:r>
              <a:rPr lang="en-GB" dirty="0" smtClean="0">
                <a:solidFill>
                  <a:schemeClr val="bg1"/>
                </a:solidFill>
              </a:rPr>
              <a:t>Result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702679" y="1910866"/>
            <a:ext cx="270741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GB" dirty="0" smtClean="0">
                <a:solidFill>
                  <a:schemeClr val="bg1"/>
                </a:solidFill>
              </a:rPr>
              <a:t>Put his energy and enthusiasm to secure and increase 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02715" y="1910866"/>
            <a:ext cx="30072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GB" dirty="0" smtClean="0">
                <a:solidFill>
                  <a:schemeClr val="bg1"/>
                </a:solidFill>
              </a:rPr>
              <a:t>Manage a large portfolio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483554" y="5595192"/>
            <a:ext cx="35091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GB" dirty="0" smtClean="0">
                <a:solidFill>
                  <a:schemeClr val="bg1"/>
                </a:solidFill>
              </a:rPr>
              <a:t>Feel confident in tackling issues he is not an expert in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Freeform 20"/>
          <p:cNvSpPr>
            <a:spLocks noEditPoints="1"/>
          </p:cNvSpPr>
          <p:nvPr/>
        </p:nvSpPr>
        <p:spPr bwMode="gray">
          <a:xfrm>
            <a:off x="5945590" y="157694"/>
            <a:ext cx="396035" cy="411729"/>
          </a:xfrm>
          <a:custGeom>
            <a:avLst/>
            <a:gdLst/>
            <a:ahLst/>
            <a:cxnLst>
              <a:cxn ang="0">
                <a:pos x="102" y="160"/>
              </a:cxn>
              <a:cxn ang="0">
                <a:pos x="122" y="176"/>
              </a:cxn>
              <a:cxn ang="0">
                <a:pos x="117" y="185"/>
              </a:cxn>
              <a:cxn ang="0">
                <a:pos x="102" y="174"/>
              </a:cxn>
              <a:cxn ang="0">
                <a:pos x="102" y="160"/>
              </a:cxn>
              <a:cxn ang="0">
                <a:pos x="96" y="141"/>
              </a:cxn>
              <a:cxn ang="0">
                <a:pos x="95" y="179"/>
              </a:cxn>
              <a:cxn ang="0">
                <a:pos x="85" y="179"/>
              </a:cxn>
              <a:cxn ang="0">
                <a:pos x="84" y="141"/>
              </a:cxn>
              <a:cxn ang="0">
                <a:pos x="96" y="141"/>
              </a:cxn>
              <a:cxn ang="0">
                <a:pos x="78" y="174"/>
              </a:cxn>
              <a:cxn ang="0">
                <a:pos x="62" y="185"/>
              </a:cxn>
              <a:cxn ang="0">
                <a:pos x="57" y="176"/>
              </a:cxn>
              <a:cxn ang="0">
                <a:pos x="77" y="160"/>
              </a:cxn>
              <a:cxn ang="0">
                <a:pos x="78" y="174"/>
              </a:cxn>
              <a:cxn ang="0">
                <a:pos x="170" y="32"/>
              </a:cxn>
              <a:cxn ang="0">
                <a:pos x="170" y="126"/>
              </a:cxn>
              <a:cxn ang="0">
                <a:pos x="163" y="133"/>
              </a:cxn>
              <a:cxn ang="0">
                <a:pos x="17" y="133"/>
              </a:cxn>
              <a:cxn ang="0">
                <a:pos x="11" y="126"/>
              </a:cxn>
              <a:cxn ang="0">
                <a:pos x="11" y="32"/>
              </a:cxn>
              <a:cxn ang="0">
                <a:pos x="20" y="32"/>
              </a:cxn>
              <a:cxn ang="0">
                <a:pos x="20" y="124"/>
              </a:cxn>
              <a:cxn ang="0">
                <a:pos x="161" y="124"/>
              </a:cxn>
              <a:cxn ang="0">
                <a:pos x="161" y="32"/>
              </a:cxn>
              <a:cxn ang="0">
                <a:pos x="170" y="32"/>
              </a:cxn>
              <a:cxn ang="0">
                <a:pos x="8" y="0"/>
              </a:cxn>
              <a:cxn ang="0">
                <a:pos x="172" y="0"/>
              </a:cxn>
              <a:cxn ang="0">
                <a:pos x="172" y="23"/>
              </a:cxn>
              <a:cxn ang="0">
                <a:pos x="8" y="23"/>
              </a:cxn>
              <a:cxn ang="0">
                <a:pos x="8" y="0"/>
              </a:cxn>
              <a:cxn ang="0">
                <a:pos x="45" y="88"/>
              </a:cxn>
              <a:cxn ang="0">
                <a:pos x="61" y="88"/>
              </a:cxn>
              <a:cxn ang="0">
                <a:pos x="64" y="91"/>
              </a:cxn>
              <a:cxn ang="0">
                <a:pos x="64" y="105"/>
              </a:cxn>
              <a:cxn ang="0">
                <a:pos x="61" y="108"/>
              </a:cxn>
              <a:cxn ang="0">
                <a:pos x="45" y="108"/>
              </a:cxn>
              <a:cxn ang="0">
                <a:pos x="42" y="105"/>
              </a:cxn>
              <a:cxn ang="0">
                <a:pos x="42" y="91"/>
              </a:cxn>
              <a:cxn ang="0">
                <a:pos x="45" y="88"/>
              </a:cxn>
              <a:cxn ang="0">
                <a:pos x="98" y="70"/>
              </a:cxn>
              <a:cxn ang="0">
                <a:pos x="82" y="70"/>
              </a:cxn>
              <a:cxn ang="0">
                <a:pos x="80" y="72"/>
              </a:cxn>
              <a:cxn ang="0">
                <a:pos x="80" y="105"/>
              </a:cxn>
              <a:cxn ang="0">
                <a:pos x="82" y="108"/>
              </a:cxn>
              <a:cxn ang="0">
                <a:pos x="98" y="108"/>
              </a:cxn>
              <a:cxn ang="0">
                <a:pos x="101" y="105"/>
              </a:cxn>
              <a:cxn ang="0">
                <a:pos x="101" y="72"/>
              </a:cxn>
              <a:cxn ang="0">
                <a:pos x="98" y="70"/>
              </a:cxn>
              <a:cxn ang="0">
                <a:pos x="120" y="51"/>
              </a:cxn>
              <a:cxn ang="0">
                <a:pos x="135" y="51"/>
              </a:cxn>
              <a:cxn ang="0">
                <a:pos x="138" y="54"/>
              </a:cxn>
              <a:cxn ang="0">
                <a:pos x="138" y="105"/>
              </a:cxn>
              <a:cxn ang="0">
                <a:pos x="135" y="108"/>
              </a:cxn>
              <a:cxn ang="0">
                <a:pos x="120" y="108"/>
              </a:cxn>
              <a:cxn ang="0">
                <a:pos x="117" y="105"/>
              </a:cxn>
              <a:cxn ang="0">
                <a:pos x="117" y="54"/>
              </a:cxn>
              <a:cxn ang="0">
                <a:pos x="120" y="51"/>
              </a:cxn>
            </a:cxnLst>
            <a:rect l="0" t="0" r="r" b="b"/>
            <a:pathLst>
              <a:path w="181" h="188">
                <a:moveTo>
                  <a:pt x="102" y="160"/>
                </a:moveTo>
                <a:cubicBezTo>
                  <a:pt x="122" y="176"/>
                  <a:pt x="122" y="176"/>
                  <a:pt x="122" y="176"/>
                </a:cubicBezTo>
                <a:cubicBezTo>
                  <a:pt x="130" y="182"/>
                  <a:pt x="123" y="188"/>
                  <a:pt x="117" y="185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2" y="160"/>
                  <a:pt x="102" y="160"/>
                  <a:pt x="102" y="160"/>
                </a:cubicBezTo>
                <a:close/>
                <a:moveTo>
                  <a:pt x="96" y="141"/>
                </a:moveTo>
                <a:cubicBezTo>
                  <a:pt x="95" y="179"/>
                  <a:pt x="95" y="179"/>
                  <a:pt x="95" y="179"/>
                </a:cubicBezTo>
                <a:cubicBezTo>
                  <a:pt x="94" y="187"/>
                  <a:pt x="85" y="187"/>
                  <a:pt x="85" y="179"/>
                </a:cubicBezTo>
                <a:cubicBezTo>
                  <a:pt x="84" y="141"/>
                  <a:pt x="84" y="141"/>
                  <a:pt x="84" y="141"/>
                </a:cubicBezTo>
                <a:cubicBezTo>
                  <a:pt x="96" y="141"/>
                  <a:pt x="96" y="141"/>
                  <a:pt x="96" y="141"/>
                </a:cubicBezTo>
                <a:close/>
                <a:moveTo>
                  <a:pt x="78" y="174"/>
                </a:moveTo>
                <a:cubicBezTo>
                  <a:pt x="62" y="185"/>
                  <a:pt x="62" y="185"/>
                  <a:pt x="62" y="185"/>
                </a:cubicBezTo>
                <a:cubicBezTo>
                  <a:pt x="56" y="188"/>
                  <a:pt x="50" y="182"/>
                  <a:pt x="57" y="176"/>
                </a:cubicBezTo>
                <a:cubicBezTo>
                  <a:pt x="77" y="160"/>
                  <a:pt x="77" y="160"/>
                  <a:pt x="77" y="160"/>
                </a:cubicBezTo>
                <a:cubicBezTo>
                  <a:pt x="78" y="174"/>
                  <a:pt x="78" y="174"/>
                  <a:pt x="78" y="174"/>
                </a:cubicBezTo>
                <a:close/>
                <a:moveTo>
                  <a:pt x="170" y="32"/>
                </a:moveTo>
                <a:cubicBezTo>
                  <a:pt x="170" y="126"/>
                  <a:pt x="170" y="126"/>
                  <a:pt x="170" y="126"/>
                </a:cubicBezTo>
                <a:cubicBezTo>
                  <a:pt x="170" y="130"/>
                  <a:pt x="167" y="133"/>
                  <a:pt x="163" y="133"/>
                </a:cubicBezTo>
                <a:cubicBezTo>
                  <a:pt x="17" y="133"/>
                  <a:pt x="17" y="133"/>
                  <a:pt x="17" y="133"/>
                </a:cubicBezTo>
                <a:cubicBezTo>
                  <a:pt x="14" y="133"/>
                  <a:pt x="11" y="130"/>
                  <a:pt x="11" y="126"/>
                </a:cubicBezTo>
                <a:cubicBezTo>
                  <a:pt x="11" y="32"/>
                  <a:pt x="11" y="32"/>
                  <a:pt x="11" y="32"/>
                </a:cubicBezTo>
                <a:cubicBezTo>
                  <a:pt x="20" y="32"/>
                  <a:pt x="20" y="32"/>
                  <a:pt x="20" y="32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61" y="124"/>
                  <a:pt x="161" y="124"/>
                  <a:pt x="161" y="124"/>
                </a:cubicBezTo>
                <a:cubicBezTo>
                  <a:pt x="161" y="32"/>
                  <a:pt x="161" y="32"/>
                  <a:pt x="161" y="32"/>
                </a:cubicBezTo>
                <a:cubicBezTo>
                  <a:pt x="170" y="32"/>
                  <a:pt x="170" y="32"/>
                  <a:pt x="170" y="32"/>
                </a:cubicBezTo>
                <a:close/>
                <a:moveTo>
                  <a:pt x="8" y="0"/>
                </a:moveTo>
                <a:cubicBezTo>
                  <a:pt x="172" y="0"/>
                  <a:pt x="172" y="0"/>
                  <a:pt x="172" y="0"/>
                </a:cubicBezTo>
                <a:cubicBezTo>
                  <a:pt x="181" y="0"/>
                  <a:pt x="181" y="23"/>
                  <a:pt x="172" y="23"/>
                </a:cubicBezTo>
                <a:cubicBezTo>
                  <a:pt x="8" y="23"/>
                  <a:pt x="8" y="23"/>
                  <a:pt x="8" y="23"/>
                </a:cubicBezTo>
                <a:cubicBezTo>
                  <a:pt x="0" y="23"/>
                  <a:pt x="0" y="0"/>
                  <a:pt x="8" y="0"/>
                </a:cubicBezTo>
                <a:close/>
                <a:moveTo>
                  <a:pt x="45" y="88"/>
                </a:moveTo>
                <a:cubicBezTo>
                  <a:pt x="61" y="88"/>
                  <a:pt x="61" y="88"/>
                  <a:pt x="61" y="88"/>
                </a:cubicBezTo>
                <a:cubicBezTo>
                  <a:pt x="62" y="88"/>
                  <a:pt x="64" y="89"/>
                  <a:pt x="64" y="91"/>
                </a:cubicBezTo>
                <a:cubicBezTo>
                  <a:pt x="64" y="105"/>
                  <a:pt x="64" y="105"/>
                  <a:pt x="64" y="105"/>
                </a:cubicBezTo>
                <a:cubicBezTo>
                  <a:pt x="64" y="107"/>
                  <a:pt x="62" y="108"/>
                  <a:pt x="61" y="108"/>
                </a:cubicBezTo>
                <a:cubicBezTo>
                  <a:pt x="45" y="108"/>
                  <a:pt x="45" y="108"/>
                  <a:pt x="45" y="108"/>
                </a:cubicBezTo>
                <a:cubicBezTo>
                  <a:pt x="44" y="108"/>
                  <a:pt x="42" y="107"/>
                  <a:pt x="42" y="105"/>
                </a:cubicBezTo>
                <a:cubicBezTo>
                  <a:pt x="42" y="91"/>
                  <a:pt x="42" y="91"/>
                  <a:pt x="42" y="91"/>
                </a:cubicBezTo>
                <a:cubicBezTo>
                  <a:pt x="42" y="89"/>
                  <a:pt x="44" y="88"/>
                  <a:pt x="45" y="88"/>
                </a:cubicBezTo>
                <a:close/>
                <a:moveTo>
                  <a:pt x="98" y="70"/>
                </a:moveTo>
                <a:cubicBezTo>
                  <a:pt x="82" y="70"/>
                  <a:pt x="82" y="70"/>
                  <a:pt x="82" y="70"/>
                </a:cubicBezTo>
                <a:cubicBezTo>
                  <a:pt x="81" y="70"/>
                  <a:pt x="80" y="71"/>
                  <a:pt x="80" y="72"/>
                </a:cubicBezTo>
                <a:cubicBezTo>
                  <a:pt x="80" y="105"/>
                  <a:pt x="80" y="105"/>
                  <a:pt x="80" y="105"/>
                </a:cubicBezTo>
                <a:cubicBezTo>
                  <a:pt x="80" y="107"/>
                  <a:pt x="81" y="108"/>
                  <a:pt x="82" y="108"/>
                </a:cubicBezTo>
                <a:cubicBezTo>
                  <a:pt x="98" y="108"/>
                  <a:pt x="98" y="108"/>
                  <a:pt x="98" y="108"/>
                </a:cubicBezTo>
                <a:cubicBezTo>
                  <a:pt x="100" y="108"/>
                  <a:pt x="101" y="107"/>
                  <a:pt x="101" y="105"/>
                </a:cubicBezTo>
                <a:cubicBezTo>
                  <a:pt x="101" y="72"/>
                  <a:pt x="101" y="72"/>
                  <a:pt x="101" y="72"/>
                </a:cubicBezTo>
                <a:cubicBezTo>
                  <a:pt x="101" y="71"/>
                  <a:pt x="100" y="70"/>
                  <a:pt x="98" y="70"/>
                </a:cubicBezTo>
                <a:close/>
                <a:moveTo>
                  <a:pt x="120" y="51"/>
                </a:moveTo>
                <a:cubicBezTo>
                  <a:pt x="135" y="51"/>
                  <a:pt x="135" y="51"/>
                  <a:pt x="135" y="51"/>
                </a:cubicBezTo>
                <a:cubicBezTo>
                  <a:pt x="137" y="51"/>
                  <a:pt x="138" y="53"/>
                  <a:pt x="138" y="54"/>
                </a:cubicBezTo>
                <a:cubicBezTo>
                  <a:pt x="138" y="105"/>
                  <a:pt x="138" y="105"/>
                  <a:pt x="138" y="105"/>
                </a:cubicBezTo>
                <a:cubicBezTo>
                  <a:pt x="138" y="107"/>
                  <a:pt x="137" y="108"/>
                  <a:pt x="135" y="108"/>
                </a:cubicBezTo>
                <a:cubicBezTo>
                  <a:pt x="120" y="108"/>
                  <a:pt x="120" y="108"/>
                  <a:pt x="120" y="108"/>
                </a:cubicBezTo>
                <a:cubicBezTo>
                  <a:pt x="118" y="108"/>
                  <a:pt x="117" y="107"/>
                  <a:pt x="117" y="105"/>
                </a:cubicBezTo>
                <a:cubicBezTo>
                  <a:pt x="117" y="54"/>
                  <a:pt x="117" y="54"/>
                  <a:pt x="117" y="54"/>
                </a:cubicBezTo>
                <a:cubicBezTo>
                  <a:pt x="117" y="53"/>
                  <a:pt x="118" y="51"/>
                  <a:pt x="120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33"/>
          <p:cNvSpPr>
            <a:spLocks noEditPoints="1"/>
          </p:cNvSpPr>
          <p:nvPr/>
        </p:nvSpPr>
        <p:spPr bwMode="gray">
          <a:xfrm>
            <a:off x="2095264" y="1365858"/>
            <a:ext cx="364377" cy="357414"/>
          </a:xfrm>
          <a:custGeom>
            <a:avLst/>
            <a:gdLst/>
            <a:ahLst/>
            <a:cxnLst>
              <a:cxn ang="0">
                <a:pos x="180" y="108"/>
              </a:cxn>
              <a:cxn ang="0">
                <a:pos x="169" y="108"/>
              </a:cxn>
              <a:cxn ang="0">
                <a:pos x="163" y="113"/>
              </a:cxn>
              <a:cxn ang="0">
                <a:pos x="163" y="190"/>
              </a:cxn>
              <a:cxn ang="0">
                <a:pos x="169" y="195"/>
              </a:cxn>
              <a:cxn ang="0">
                <a:pos x="180" y="195"/>
              </a:cxn>
              <a:cxn ang="0">
                <a:pos x="185" y="190"/>
              </a:cxn>
              <a:cxn ang="0">
                <a:pos x="185" y="113"/>
              </a:cxn>
              <a:cxn ang="0">
                <a:pos x="180" y="108"/>
              </a:cxn>
              <a:cxn ang="0">
                <a:pos x="199" y="22"/>
              </a:cxn>
              <a:cxn ang="0">
                <a:pos x="159" y="93"/>
              </a:cxn>
              <a:cxn ang="0">
                <a:pos x="145" y="69"/>
              </a:cxn>
              <a:cxn ang="0">
                <a:pos x="122" y="83"/>
              </a:cxn>
              <a:cxn ang="0">
                <a:pos x="74" y="69"/>
              </a:cxn>
              <a:cxn ang="0">
                <a:pos x="57" y="40"/>
              </a:cxn>
              <a:cxn ang="0">
                <a:pos x="0" y="73"/>
              </a:cxn>
              <a:cxn ang="0">
                <a:pos x="21" y="37"/>
              </a:cxn>
              <a:cxn ang="0">
                <a:pos x="88" y="34"/>
              </a:cxn>
              <a:cxn ang="0">
                <a:pos x="103" y="61"/>
              </a:cxn>
              <a:cxn ang="0">
                <a:pos x="131" y="45"/>
              </a:cxn>
              <a:cxn ang="0">
                <a:pos x="118" y="22"/>
              </a:cxn>
              <a:cxn ang="0">
                <a:pos x="199" y="22"/>
              </a:cxn>
              <a:cxn ang="0">
                <a:pos x="129" y="123"/>
              </a:cxn>
              <a:cxn ang="0">
                <a:pos x="141" y="123"/>
              </a:cxn>
              <a:cxn ang="0">
                <a:pos x="146" y="128"/>
              </a:cxn>
              <a:cxn ang="0">
                <a:pos x="146" y="190"/>
              </a:cxn>
              <a:cxn ang="0">
                <a:pos x="141" y="195"/>
              </a:cxn>
              <a:cxn ang="0">
                <a:pos x="129" y="195"/>
              </a:cxn>
              <a:cxn ang="0">
                <a:pos x="124" y="190"/>
              </a:cxn>
              <a:cxn ang="0">
                <a:pos x="124" y="128"/>
              </a:cxn>
              <a:cxn ang="0">
                <a:pos x="129" y="123"/>
              </a:cxn>
              <a:cxn ang="0">
                <a:pos x="101" y="141"/>
              </a:cxn>
              <a:cxn ang="0">
                <a:pos x="90" y="141"/>
              </a:cxn>
              <a:cxn ang="0">
                <a:pos x="84" y="146"/>
              </a:cxn>
              <a:cxn ang="0">
                <a:pos x="84" y="190"/>
              </a:cxn>
              <a:cxn ang="0">
                <a:pos x="90" y="195"/>
              </a:cxn>
              <a:cxn ang="0">
                <a:pos x="101" y="195"/>
              </a:cxn>
              <a:cxn ang="0">
                <a:pos x="106" y="190"/>
              </a:cxn>
              <a:cxn ang="0">
                <a:pos x="106" y="146"/>
              </a:cxn>
              <a:cxn ang="0">
                <a:pos x="101" y="141"/>
              </a:cxn>
              <a:cxn ang="0">
                <a:pos x="50" y="86"/>
              </a:cxn>
              <a:cxn ang="0">
                <a:pos x="62" y="86"/>
              </a:cxn>
              <a:cxn ang="0">
                <a:pos x="67" y="91"/>
              </a:cxn>
              <a:cxn ang="0">
                <a:pos x="67" y="190"/>
              </a:cxn>
              <a:cxn ang="0">
                <a:pos x="62" y="195"/>
              </a:cxn>
              <a:cxn ang="0">
                <a:pos x="50" y="195"/>
              </a:cxn>
              <a:cxn ang="0">
                <a:pos x="45" y="190"/>
              </a:cxn>
              <a:cxn ang="0">
                <a:pos x="45" y="91"/>
              </a:cxn>
              <a:cxn ang="0">
                <a:pos x="50" y="86"/>
              </a:cxn>
              <a:cxn ang="0">
                <a:pos x="22" y="109"/>
              </a:cxn>
              <a:cxn ang="0">
                <a:pos x="11" y="109"/>
              </a:cxn>
              <a:cxn ang="0">
                <a:pos x="5" y="115"/>
              </a:cxn>
              <a:cxn ang="0">
                <a:pos x="5" y="190"/>
              </a:cxn>
              <a:cxn ang="0">
                <a:pos x="11" y="195"/>
              </a:cxn>
              <a:cxn ang="0">
                <a:pos x="22" y="195"/>
              </a:cxn>
              <a:cxn ang="0">
                <a:pos x="27" y="190"/>
              </a:cxn>
              <a:cxn ang="0">
                <a:pos x="27" y="115"/>
              </a:cxn>
              <a:cxn ang="0">
                <a:pos x="22" y="109"/>
              </a:cxn>
            </a:cxnLst>
            <a:rect l="0" t="0" r="r" b="b"/>
            <a:pathLst>
              <a:path w="199" h="195">
                <a:moveTo>
                  <a:pt x="180" y="108"/>
                </a:moveTo>
                <a:cubicBezTo>
                  <a:pt x="169" y="108"/>
                  <a:pt x="169" y="108"/>
                  <a:pt x="169" y="108"/>
                </a:cubicBezTo>
                <a:cubicBezTo>
                  <a:pt x="166" y="108"/>
                  <a:pt x="163" y="111"/>
                  <a:pt x="163" y="113"/>
                </a:cubicBezTo>
                <a:cubicBezTo>
                  <a:pt x="163" y="190"/>
                  <a:pt x="163" y="190"/>
                  <a:pt x="163" y="190"/>
                </a:cubicBezTo>
                <a:cubicBezTo>
                  <a:pt x="163" y="193"/>
                  <a:pt x="166" y="195"/>
                  <a:pt x="169" y="195"/>
                </a:cubicBezTo>
                <a:cubicBezTo>
                  <a:pt x="180" y="195"/>
                  <a:pt x="180" y="195"/>
                  <a:pt x="180" y="195"/>
                </a:cubicBezTo>
                <a:cubicBezTo>
                  <a:pt x="183" y="195"/>
                  <a:pt x="185" y="193"/>
                  <a:pt x="185" y="190"/>
                </a:cubicBezTo>
                <a:cubicBezTo>
                  <a:pt x="185" y="113"/>
                  <a:pt x="185" y="113"/>
                  <a:pt x="185" y="113"/>
                </a:cubicBezTo>
                <a:cubicBezTo>
                  <a:pt x="185" y="111"/>
                  <a:pt x="183" y="108"/>
                  <a:pt x="180" y="108"/>
                </a:cubicBezTo>
                <a:close/>
                <a:moveTo>
                  <a:pt x="199" y="22"/>
                </a:moveTo>
                <a:cubicBezTo>
                  <a:pt x="159" y="93"/>
                  <a:pt x="159" y="93"/>
                  <a:pt x="159" y="93"/>
                </a:cubicBezTo>
                <a:cubicBezTo>
                  <a:pt x="145" y="69"/>
                  <a:pt x="145" y="69"/>
                  <a:pt x="145" y="69"/>
                </a:cubicBezTo>
                <a:cubicBezTo>
                  <a:pt x="122" y="83"/>
                  <a:pt x="122" y="83"/>
                  <a:pt x="122" y="83"/>
                </a:cubicBezTo>
                <a:cubicBezTo>
                  <a:pt x="100" y="97"/>
                  <a:pt x="88" y="93"/>
                  <a:pt x="74" y="69"/>
                </a:cubicBezTo>
                <a:cubicBezTo>
                  <a:pt x="57" y="40"/>
                  <a:pt x="57" y="40"/>
                  <a:pt x="57" y="40"/>
                </a:cubicBezTo>
                <a:cubicBezTo>
                  <a:pt x="0" y="73"/>
                  <a:pt x="0" y="73"/>
                  <a:pt x="0" y="73"/>
                </a:cubicBezTo>
                <a:cubicBezTo>
                  <a:pt x="3" y="65"/>
                  <a:pt x="11" y="50"/>
                  <a:pt x="21" y="37"/>
                </a:cubicBezTo>
                <a:cubicBezTo>
                  <a:pt x="44" y="10"/>
                  <a:pt x="68" y="0"/>
                  <a:pt x="88" y="34"/>
                </a:cubicBezTo>
                <a:cubicBezTo>
                  <a:pt x="103" y="61"/>
                  <a:pt x="103" y="61"/>
                  <a:pt x="103" y="61"/>
                </a:cubicBezTo>
                <a:cubicBezTo>
                  <a:pt x="131" y="45"/>
                  <a:pt x="131" y="45"/>
                  <a:pt x="131" y="45"/>
                </a:cubicBezTo>
                <a:cubicBezTo>
                  <a:pt x="118" y="22"/>
                  <a:pt x="118" y="22"/>
                  <a:pt x="118" y="22"/>
                </a:cubicBezTo>
                <a:cubicBezTo>
                  <a:pt x="199" y="22"/>
                  <a:pt x="199" y="22"/>
                  <a:pt x="199" y="22"/>
                </a:cubicBezTo>
                <a:close/>
                <a:moveTo>
                  <a:pt x="129" y="123"/>
                </a:moveTo>
                <a:cubicBezTo>
                  <a:pt x="141" y="123"/>
                  <a:pt x="141" y="123"/>
                  <a:pt x="141" y="123"/>
                </a:cubicBezTo>
                <a:cubicBezTo>
                  <a:pt x="144" y="123"/>
                  <a:pt x="146" y="125"/>
                  <a:pt x="146" y="128"/>
                </a:cubicBezTo>
                <a:cubicBezTo>
                  <a:pt x="146" y="190"/>
                  <a:pt x="146" y="190"/>
                  <a:pt x="146" y="190"/>
                </a:cubicBezTo>
                <a:cubicBezTo>
                  <a:pt x="146" y="193"/>
                  <a:pt x="144" y="195"/>
                  <a:pt x="141" y="195"/>
                </a:cubicBezTo>
                <a:cubicBezTo>
                  <a:pt x="129" y="195"/>
                  <a:pt x="129" y="195"/>
                  <a:pt x="129" y="195"/>
                </a:cubicBezTo>
                <a:cubicBezTo>
                  <a:pt x="126" y="195"/>
                  <a:pt x="124" y="193"/>
                  <a:pt x="124" y="190"/>
                </a:cubicBezTo>
                <a:cubicBezTo>
                  <a:pt x="124" y="128"/>
                  <a:pt x="124" y="128"/>
                  <a:pt x="124" y="128"/>
                </a:cubicBezTo>
                <a:cubicBezTo>
                  <a:pt x="124" y="125"/>
                  <a:pt x="126" y="123"/>
                  <a:pt x="129" y="123"/>
                </a:cubicBezTo>
                <a:close/>
                <a:moveTo>
                  <a:pt x="101" y="141"/>
                </a:moveTo>
                <a:cubicBezTo>
                  <a:pt x="90" y="141"/>
                  <a:pt x="90" y="141"/>
                  <a:pt x="90" y="141"/>
                </a:cubicBezTo>
                <a:cubicBezTo>
                  <a:pt x="87" y="141"/>
                  <a:pt x="84" y="143"/>
                  <a:pt x="84" y="146"/>
                </a:cubicBezTo>
                <a:cubicBezTo>
                  <a:pt x="84" y="190"/>
                  <a:pt x="84" y="190"/>
                  <a:pt x="84" y="190"/>
                </a:cubicBezTo>
                <a:cubicBezTo>
                  <a:pt x="84" y="193"/>
                  <a:pt x="87" y="195"/>
                  <a:pt x="90" y="195"/>
                </a:cubicBezTo>
                <a:cubicBezTo>
                  <a:pt x="101" y="195"/>
                  <a:pt x="101" y="195"/>
                  <a:pt x="101" y="195"/>
                </a:cubicBezTo>
                <a:cubicBezTo>
                  <a:pt x="104" y="195"/>
                  <a:pt x="106" y="193"/>
                  <a:pt x="106" y="190"/>
                </a:cubicBezTo>
                <a:cubicBezTo>
                  <a:pt x="106" y="146"/>
                  <a:pt x="106" y="146"/>
                  <a:pt x="106" y="146"/>
                </a:cubicBezTo>
                <a:cubicBezTo>
                  <a:pt x="106" y="143"/>
                  <a:pt x="104" y="141"/>
                  <a:pt x="101" y="141"/>
                </a:cubicBezTo>
                <a:close/>
                <a:moveTo>
                  <a:pt x="50" y="86"/>
                </a:moveTo>
                <a:cubicBezTo>
                  <a:pt x="62" y="86"/>
                  <a:pt x="62" y="86"/>
                  <a:pt x="62" y="86"/>
                </a:cubicBezTo>
                <a:cubicBezTo>
                  <a:pt x="65" y="86"/>
                  <a:pt x="67" y="88"/>
                  <a:pt x="67" y="91"/>
                </a:cubicBezTo>
                <a:cubicBezTo>
                  <a:pt x="67" y="190"/>
                  <a:pt x="67" y="190"/>
                  <a:pt x="67" y="190"/>
                </a:cubicBezTo>
                <a:cubicBezTo>
                  <a:pt x="67" y="193"/>
                  <a:pt x="65" y="195"/>
                  <a:pt x="62" y="195"/>
                </a:cubicBezTo>
                <a:cubicBezTo>
                  <a:pt x="50" y="195"/>
                  <a:pt x="50" y="195"/>
                  <a:pt x="50" y="195"/>
                </a:cubicBezTo>
                <a:cubicBezTo>
                  <a:pt x="47" y="195"/>
                  <a:pt x="45" y="193"/>
                  <a:pt x="45" y="190"/>
                </a:cubicBezTo>
                <a:cubicBezTo>
                  <a:pt x="45" y="91"/>
                  <a:pt x="45" y="91"/>
                  <a:pt x="45" y="91"/>
                </a:cubicBezTo>
                <a:cubicBezTo>
                  <a:pt x="45" y="88"/>
                  <a:pt x="47" y="86"/>
                  <a:pt x="50" y="86"/>
                </a:cubicBezTo>
                <a:close/>
                <a:moveTo>
                  <a:pt x="22" y="109"/>
                </a:moveTo>
                <a:cubicBezTo>
                  <a:pt x="11" y="109"/>
                  <a:pt x="11" y="109"/>
                  <a:pt x="11" y="109"/>
                </a:cubicBezTo>
                <a:cubicBezTo>
                  <a:pt x="8" y="109"/>
                  <a:pt x="5" y="112"/>
                  <a:pt x="5" y="115"/>
                </a:cubicBezTo>
                <a:cubicBezTo>
                  <a:pt x="5" y="190"/>
                  <a:pt x="5" y="190"/>
                  <a:pt x="5" y="190"/>
                </a:cubicBezTo>
                <a:cubicBezTo>
                  <a:pt x="5" y="193"/>
                  <a:pt x="8" y="195"/>
                  <a:pt x="11" y="195"/>
                </a:cubicBezTo>
                <a:cubicBezTo>
                  <a:pt x="22" y="195"/>
                  <a:pt x="22" y="195"/>
                  <a:pt x="22" y="195"/>
                </a:cubicBezTo>
                <a:cubicBezTo>
                  <a:pt x="25" y="195"/>
                  <a:pt x="27" y="193"/>
                  <a:pt x="27" y="190"/>
                </a:cubicBezTo>
                <a:cubicBezTo>
                  <a:pt x="27" y="115"/>
                  <a:pt x="27" y="115"/>
                  <a:pt x="27" y="115"/>
                </a:cubicBezTo>
                <a:cubicBezTo>
                  <a:pt x="27" y="112"/>
                  <a:pt x="25" y="109"/>
                  <a:pt x="22" y="10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31"/>
          <p:cNvSpPr>
            <a:spLocks noEditPoints="1"/>
          </p:cNvSpPr>
          <p:nvPr/>
        </p:nvSpPr>
        <p:spPr bwMode="gray">
          <a:xfrm>
            <a:off x="9818084" y="1371600"/>
            <a:ext cx="408960" cy="458811"/>
          </a:xfrm>
          <a:custGeom>
            <a:avLst/>
            <a:gdLst/>
            <a:ahLst/>
            <a:cxnLst>
              <a:cxn ang="0">
                <a:pos x="158" y="39"/>
              </a:cxn>
              <a:cxn ang="0">
                <a:pos x="168" y="89"/>
              </a:cxn>
              <a:cxn ang="0">
                <a:pos x="185" y="119"/>
              </a:cxn>
              <a:cxn ang="0">
                <a:pos x="168" y="128"/>
              </a:cxn>
              <a:cxn ang="0">
                <a:pos x="171" y="140"/>
              </a:cxn>
              <a:cxn ang="0">
                <a:pos x="166" y="143"/>
              </a:cxn>
              <a:cxn ang="0">
                <a:pos x="168" y="148"/>
              </a:cxn>
              <a:cxn ang="0">
                <a:pos x="161" y="156"/>
              </a:cxn>
              <a:cxn ang="0">
                <a:pos x="162" y="175"/>
              </a:cxn>
              <a:cxn ang="0">
                <a:pos x="126" y="179"/>
              </a:cxn>
              <a:cxn ang="0">
                <a:pos x="110" y="210"/>
              </a:cxn>
              <a:cxn ang="0">
                <a:pos x="21" y="194"/>
              </a:cxn>
              <a:cxn ang="0">
                <a:pos x="37" y="150"/>
              </a:cxn>
              <a:cxn ang="0">
                <a:pos x="25" y="43"/>
              </a:cxn>
              <a:cxn ang="0">
                <a:pos x="158" y="39"/>
              </a:cxn>
              <a:cxn ang="0">
                <a:pos x="78" y="142"/>
              </a:cxn>
              <a:cxn ang="0">
                <a:pos x="104" y="139"/>
              </a:cxn>
              <a:cxn ang="0">
                <a:pos x="105" y="148"/>
              </a:cxn>
              <a:cxn ang="0">
                <a:pos x="79" y="151"/>
              </a:cxn>
              <a:cxn ang="0">
                <a:pos x="78" y="142"/>
              </a:cxn>
              <a:cxn ang="0">
                <a:pos x="78" y="125"/>
              </a:cxn>
              <a:cxn ang="0">
                <a:pos x="104" y="122"/>
              </a:cxn>
              <a:cxn ang="0">
                <a:pos x="105" y="131"/>
              </a:cxn>
              <a:cxn ang="0">
                <a:pos x="79" y="134"/>
              </a:cxn>
              <a:cxn ang="0">
                <a:pos x="78" y="125"/>
              </a:cxn>
              <a:cxn ang="0">
                <a:pos x="91" y="36"/>
              </a:cxn>
              <a:cxn ang="0">
                <a:pos x="58" y="70"/>
              </a:cxn>
              <a:cxn ang="0">
                <a:pos x="61" y="85"/>
              </a:cxn>
              <a:cxn ang="0">
                <a:pos x="68" y="94"/>
              </a:cxn>
              <a:cxn ang="0">
                <a:pos x="74" y="111"/>
              </a:cxn>
              <a:cxn ang="0">
                <a:pos x="78" y="115"/>
              </a:cxn>
              <a:cxn ang="0">
                <a:pos x="104" y="115"/>
              </a:cxn>
              <a:cxn ang="0">
                <a:pos x="109" y="111"/>
              </a:cxn>
              <a:cxn ang="0">
                <a:pos x="115" y="94"/>
              </a:cxn>
              <a:cxn ang="0">
                <a:pos x="122" y="85"/>
              </a:cxn>
              <a:cxn ang="0">
                <a:pos x="125" y="70"/>
              </a:cxn>
              <a:cxn ang="0">
                <a:pos x="91" y="36"/>
              </a:cxn>
            </a:cxnLst>
            <a:rect l="0" t="0" r="r" b="b"/>
            <a:pathLst>
              <a:path w="187" h="210">
                <a:moveTo>
                  <a:pt x="158" y="39"/>
                </a:moveTo>
                <a:cubicBezTo>
                  <a:pt x="180" y="68"/>
                  <a:pt x="166" y="77"/>
                  <a:pt x="168" y="89"/>
                </a:cubicBezTo>
                <a:cubicBezTo>
                  <a:pt x="171" y="102"/>
                  <a:pt x="187" y="112"/>
                  <a:pt x="185" y="119"/>
                </a:cubicBezTo>
                <a:cubicBezTo>
                  <a:pt x="182" y="126"/>
                  <a:pt x="169" y="124"/>
                  <a:pt x="168" y="128"/>
                </a:cubicBezTo>
                <a:cubicBezTo>
                  <a:pt x="168" y="133"/>
                  <a:pt x="172" y="138"/>
                  <a:pt x="171" y="140"/>
                </a:cubicBezTo>
                <a:cubicBezTo>
                  <a:pt x="171" y="142"/>
                  <a:pt x="166" y="143"/>
                  <a:pt x="166" y="143"/>
                </a:cubicBezTo>
                <a:cubicBezTo>
                  <a:pt x="166" y="143"/>
                  <a:pt x="169" y="146"/>
                  <a:pt x="168" y="148"/>
                </a:cubicBezTo>
                <a:cubicBezTo>
                  <a:pt x="168" y="151"/>
                  <a:pt x="161" y="151"/>
                  <a:pt x="161" y="156"/>
                </a:cubicBezTo>
                <a:cubicBezTo>
                  <a:pt x="161" y="161"/>
                  <a:pt x="169" y="170"/>
                  <a:pt x="162" y="175"/>
                </a:cubicBezTo>
                <a:cubicBezTo>
                  <a:pt x="156" y="180"/>
                  <a:pt x="138" y="174"/>
                  <a:pt x="126" y="179"/>
                </a:cubicBezTo>
                <a:cubicBezTo>
                  <a:pt x="118" y="183"/>
                  <a:pt x="113" y="198"/>
                  <a:pt x="110" y="210"/>
                </a:cubicBezTo>
                <a:cubicBezTo>
                  <a:pt x="70" y="201"/>
                  <a:pt x="47" y="196"/>
                  <a:pt x="21" y="194"/>
                </a:cubicBezTo>
                <a:cubicBezTo>
                  <a:pt x="21" y="194"/>
                  <a:pt x="39" y="166"/>
                  <a:pt x="37" y="150"/>
                </a:cubicBezTo>
                <a:cubicBezTo>
                  <a:pt x="35" y="133"/>
                  <a:pt x="0" y="91"/>
                  <a:pt x="25" y="43"/>
                </a:cubicBezTo>
                <a:cubicBezTo>
                  <a:pt x="47" y="0"/>
                  <a:pt x="128" y="0"/>
                  <a:pt x="158" y="39"/>
                </a:cubicBezTo>
                <a:close/>
                <a:moveTo>
                  <a:pt x="78" y="142"/>
                </a:moveTo>
                <a:cubicBezTo>
                  <a:pt x="104" y="139"/>
                  <a:pt x="104" y="139"/>
                  <a:pt x="104" y="139"/>
                </a:cubicBezTo>
                <a:cubicBezTo>
                  <a:pt x="110" y="139"/>
                  <a:pt x="111" y="148"/>
                  <a:pt x="105" y="148"/>
                </a:cubicBezTo>
                <a:cubicBezTo>
                  <a:pt x="79" y="151"/>
                  <a:pt x="79" y="151"/>
                  <a:pt x="79" y="151"/>
                </a:cubicBezTo>
                <a:cubicBezTo>
                  <a:pt x="73" y="151"/>
                  <a:pt x="72" y="142"/>
                  <a:pt x="78" y="142"/>
                </a:cubicBezTo>
                <a:close/>
                <a:moveTo>
                  <a:pt x="78" y="125"/>
                </a:moveTo>
                <a:cubicBezTo>
                  <a:pt x="104" y="122"/>
                  <a:pt x="104" y="122"/>
                  <a:pt x="104" y="122"/>
                </a:cubicBezTo>
                <a:cubicBezTo>
                  <a:pt x="110" y="122"/>
                  <a:pt x="111" y="130"/>
                  <a:pt x="105" y="131"/>
                </a:cubicBezTo>
                <a:cubicBezTo>
                  <a:pt x="79" y="134"/>
                  <a:pt x="79" y="134"/>
                  <a:pt x="79" y="134"/>
                </a:cubicBezTo>
                <a:cubicBezTo>
                  <a:pt x="73" y="134"/>
                  <a:pt x="72" y="125"/>
                  <a:pt x="78" y="125"/>
                </a:cubicBezTo>
                <a:close/>
                <a:moveTo>
                  <a:pt x="91" y="36"/>
                </a:moveTo>
                <a:cubicBezTo>
                  <a:pt x="73" y="36"/>
                  <a:pt x="58" y="52"/>
                  <a:pt x="58" y="70"/>
                </a:cubicBezTo>
                <a:cubicBezTo>
                  <a:pt x="58" y="75"/>
                  <a:pt x="58" y="80"/>
                  <a:pt x="61" y="85"/>
                </a:cubicBezTo>
                <a:cubicBezTo>
                  <a:pt x="63" y="88"/>
                  <a:pt x="66" y="91"/>
                  <a:pt x="68" y="94"/>
                </a:cubicBezTo>
                <a:cubicBezTo>
                  <a:pt x="72" y="100"/>
                  <a:pt x="74" y="104"/>
                  <a:pt x="74" y="111"/>
                </a:cubicBezTo>
                <a:cubicBezTo>
                  <a:pt x="74" y="113"/>
                  <a:pt x="76" y="115"/>
                  <a:pt x="78" y="115"/>
                </a:cubicBezTo>
                <a:cubicBezTo>
                  <a:pt x="104" y="115"/>
                  <a:pt x="104" y="115"/>
                  <a:pt x="104" y="115"/>
                </a:cubicBezTo>
                <a:cubicBezTo>
                  <a:pt x="107" y="115"/>
                  <a:pt x="109" y="113"/>
                  <a:pt x="109" y="111"/>
                </a:cubicBezTo>
                <a:cubicBezTo>
                  <a:pt x="109" y="104"/>
                  <a:pt x="111" y="100"/>
                  <a:pt x="115" y="94"/>
                </a:cubicBezTo>
                <a:cubicBezTo>
                  <a:pt x="117" y="91"/>
                  <a:pt x="120" y="88"/>
                  <a:pt x="122" y="85"/>
                </a:cubicBezTo>
                <a:cubicBezTo>
                  <a:pt x="124" y="80"/>
                  <a:pt x="125" y="75"/>
                  <a:pt x="125" y="70"/>
                </a:cubicBezTo>
                <a:cubicBezTo>
                  <a:pt x="125" y="52"/>
                  <a:pt x="110" y="36"/>
                  <a:pt x="91" y="3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54"/>
          <p:cNvSpPr>
            <a:spLocks noEditPoints="1"/>
          </p:cNvSpPr>
          <p:nvPr/>
        </p:nvSpPr>
        <p:spPr bwMode="gray">
          <a:xfrm>
            <a:off x="5999218" y="5112197"/>
            <a:ext cx="477781" cy="446922"/>
          </a:xfrm>
          <a:custGeom>
            <a:avLst/>
            <a:gdLst/>
            <a:ahLst/>
            <a:cxnLst>
              <a:cxn ang="0">
                <a:pos x="136" y="166"/>
              </a:cxn>
              <a:cxn ang="0">
                <a:pos x="123" y="180"/>
              </a:cxn>
              <a:cxn ang="0">
                <a:pos x="22" y="180"/>
              </a:cxn>
              <a:cxn ang="0">
                <a:pos x="8" y="166"/>
              </a:cxn>
              <a:cxn ang="0">
                <a:pos x="8" y="54"/>
              </a:cxn>
              <a:cxn ang="0">
                <a:pos x="32" y="54"/>
              </a:cxn>
              <a:cxn ang="0">
                <a:pos x="54" y="32"/>
              </a:cxn>
              <a:cxn ang="0">
                <a:pos x="54" y="0"/>
              </a:cxn>
              <a:cxn ang="0">
                <a:pos x="46" y="0"/>
              </a:cxn>
              <a:cxn ang="0">
                <a:pos x="0" y="46"/>
              </a:cxn>
              <a:cxn ang="0">
                <a:pos x="0" y="166"/>
              </a:cxn>
              <a:cxn ang="0">
                <a:pos x="22" y="188"/>
              </a:cxn>
              <a:cxn ang="0">
                <a:pos x="123" y="188"/>
              </a:cxn>
              <a:cxn ang="0">
                <a:pos x="144" y="166"/>
              </a:cxn>
              <a:cxn ang="0">
                <a:pos x="144" y="151"/>
              </a:cxn>
              <a:cxn ang="0">
                <a:pos x="136" y="154"/>
              </a:cxn>
              <a:cxn ang="0">
                <a:pos x="136" y="166"/>
              </a:cxn>
              <a:cxn ang="0">
                <a:pos x="144" y="28"/>
              </a:cxn>
              <a:cxn ang="0">
                <a:pos x="144" y="22"/>
              </a:cxn>
              <a:cxn ang="0">
                <a:pos x="123" y="0"/>
              </a:cxn>
              <a:cxn ang="0">
                <a:pos x="62" y="0"/>
              </a:cxn>
              <a:cxn ang="0">
                <a:pos x="62" y="8"/>
              </a:cxn>
              <a:cxn ang="0">
                <a:pos x="123" y="8"/>
              </a:cxn>
              <a:cxn ang="0">
                <a:pos x="136" y="22"/>
              </a:cxn>
              <a:cxn ang="0">
                <a:pos x="136" y="25"/>
              </a:cxn>
              <a:cxn ang="0">
                <a:pos x="144" y="28"/>
              </a:cxn>
              <a:cxn ang="0">
                <a:pos x="46" y="11"/>
              </a:cxn>
              <a:cxn ang="0">
                <a:pos x="11" y="46"/>
              </a:cxn>
              <a:cxn ang="0">
                <a:pos x="32" y="46"/>
              </a:cxn>
              <a:cxn ang="0">
                <a:pos x="46" y="32"/>
              </a:cxn>
              <a:cxn ang="0">
                <a:pos x="46" y="11"/>
              </a:cxn>
              <a:cxn ang="0">
                <a:pos x="117" y="77"/>
              </a:cxn>
              <a:cxn ang="0">
                <a:pos x="93" y="82"/>
              </a:cxn>
              <a:cxn ang="0">
                <a:pos x="117" y="63"/>
              </a:cxn>
              <a:cxn ang="0">
                <a:pos x="141" y="82"/>
              </a:cxn>
              <a:cxn ang="0">
                <a:pos x="117" y="77"/>
              </a:cxn>
              <a:cxn ang="0">
                <a:pos x="88" y="61"/>
              </a:cxn>
              <a:cxn ang="0">
                <a:pos x="146" y="61"/>
              </a:cxn>
              <a:cxn ang="0">
                <a:pos x="146" y="119"/>
              </a:cxn>
              <a:cxn ang="0">
                <a:pos x="88" y="119"/>
              </a:cxn>
              <a:cxn ang="0">
                <a:pos x="88" y="61"/>
              </a:cxn>
              <a:cxn ang="0">
                <a:pos x="76" y="49"/>
              </a:cxn>
              <a:cxn ang="0">
                <a:pos x="157" y="49"/>
              </a:cxn>
              <a:cxn ang="0">
                <a:pos x="157" y="130"/>
              </a:cxn>
              <a:cxn ang="0">
                <a:pos x="76" y="130"/>
              </a:cxn>
              <a:cxn ang="0">
                <a:pos x="76" y="49"/>
              </a:cxn>
              <a:cxn ang="0">
                <a:pos x="155" y="147"/>
              </a:cxn>
              <a:cxn ang="0">
                <a:pos x="172" y="130"/>
              </a:cxn>
              <a:cxn ang="0">
                <a:pos x="200" y="158"/>
              </a:cxn>
              <a:cxn ang="0">
                <a:pos x="183" y="175"/>
              </a:cxn>
              <a:cxn ang="0">
                <a:pos x="155" y="147"/>
              </a:cxn>
            </a:cxnLst>
            <a:rect l="0" t="0" r="r" b="b"/>
            <a:pathLst>
              <a:path w="202" h="188">
                <a:moveTo>
                  <a:pt x="136" y="166"/>
                </a:moveTo>
                <a:cubicBezTo>
                  <a:pt x="136" y="174"/>
                  <a:pt x="130" y="180"/>
                  <a:pt x="123" y="180"/>
                </a:cubicBezTo>
                <a:cubicBezTo>
                  <a:pt x="22" y="180"/>
                  <a:pt x="22" y="180"/>
                  <a:pt x="22" y="180"/>
                </a:cubicBezTo>
                <a:cubicBezTo>
                  <a:pt x="14" y="180"/>
                  <a:pt x="8" y="174"/>
                  <a:pt x="8" y="166"/>
                </a:cubicBezTo>
                <a:cubicBezTo>
                  <a:pt x="8" y="54"/>
                  <a:pt x="8" y="54"/>
                  <a:pt x="8" y="54"/>
                </a:cubicBezTo>
                <a:cubicBezTo>
                  <a:pt x="32" y="54"/>
                  <a:pt x="32" y="54"/>
                  <a:pt x="32" y="54"/>
                </a:cubicBezTo>
                <a:cubicBezTo>
                  <a:pt x="44" y="54"/>
                  <a:pt x="54" y="44"/>
                  <a:pt x="54" y="32"/>
                </a:cubicBezTo>
                <a:cubicBezTo>
                  <a:pt x="54" y="22"/>
                  <a:pt x="54" y="11"/>
                  <a:pt x="54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166"/>
                  <a:pt x="0" y="166"/>
                  <a:pt x="0" y="166"/>
                </a:cubicBezTo>
                <a:cubicBezTo>
                  <a:pt x="0" y="178"/>
                  <a:pt x="10" y="188"/>
                  <a:pt x="22" y="188"/>
                </a:cubicBezTo>
                <a:cubicBezTo>
                  <a:pt x="123" y="188"/>
                  <a:pt x="123" y="188"/>
                  <a:pt x="123" y="188"/>
                </a:cubicBezTo>
                <a:cubicBezTo>
                  <a:pt x="135" y="188"/>
                  <a:pt x="144" y="178"/>
                  <a:pt x="144" y="166"/>
                </a:cubicBezTo>
                <a:cubicBezTo>
                  <a:pt x="144" y="151"/>
                  <a:pt x="144" y="151"/>
                  <a:pt x="144" y="151"/>
                </a:cubicBezTo>
                <a:cubicBezTo>
                  <a:pt x="142" y="152"/>
                  <a:pt x="139" y="153"/>
                  <a:pt x="136" y="154"/>
                </a:cubicBezTo>
                <a:cubicBezTo>
                  <a:pt x="136" y="166"/>
                  <a:pt x="136" y="166"/>
                  <a:pt x="136" y="166"/>
                </a:cubicBezTo>
                <a:close/>
                <a:moveTo>
                  <a:pt x="144" y="28"/>
                </a:moveTo>
                <a:cubicBezTo>
                  <a:pt x="144" y="22"/>
                  <a:pt x="144" y="22"/>
                  <a:pt x="144" y="22"/>
                </a:cubicBezTo>
                <a:cubicBezTo>
                  <a:pt x="144" y="10"/>
                  <a:pt x="135" y="0"/>
                  <a:pt x="123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62" y="8"/>
                  <a:pt x="62" y="8"/>
                  <a:pt x="62" y="8"/>
                </a:cubicBezTo>
                <a:cubicBezTo>
                  <a:pt x="123" y="8"/>
                  <a:pt x="123" y="8"/>
                  <a:pt x="123" y="8"/>
                </a:cubicBezTo>
                <a:cubicBezTo>
                  <a:pt x="130" y="8"/>
                  <a:pt x="136" y="14"/>
                  <a:pt x="136" y="22"/>
                </a:cubicBezTo>
                <a:cubicBezTo>
                  <a:pt x="136" y="25"/>
                  <a:pt x="136" y="25"/>
                  <a:pt x="136" y="25"/>
                </a:cubicBezTo>
                <a:cubicBezTo>
                  <a:pt x="139" y="26"/>
                  <a:pt x="142" y="27"/>
                  <a:pt x="144" y="28"/>
                </a:cubicBezTo>
                <a:close/>
                <a:moveTo>
                  <a:pt x="46" y="11"/>
                </a:moveTo>
                <a:cubicBezTo>
                  <a:pt x="11" y="46"/>
                  <a:pt x="11" y="46"/>
                  <a:pt x="11" y="46"/>
                </a:cubicBezTo>
                <a:cubicBezTo>
                  <a:pt x="32" y="46"/>
                  <a:pt x="32" y="46"/>
                  <a:pt x="32" y="46"/>
                </a:cubicBezTo>
                <a:cubicBezTo>
                  <a:pt x="39" y="46"/>
                  <a:pt x="46" y="40"/>
                  <a:pt x="46" y="32"/>
                </a:cubicBezTo>
                <a:cubicBezTo>
                  <a:pt x="46" y="11"/>
                  <a:pt x="46" y="11"/>
                  <a:pt x="46" y="11"/>
                </a:cubicBezTo>
                <a:close/>
                <a:moveTo>
                  <a:pt x="117" y="77"/>
                </a:moveTo>
                <a:cubicBezTo>
                  <a:pt x="107" y="77"/>
                  <a:pt x="101" y="79"/>
                  <a:pt x="93" y="82"/>
                </a:cubicBezTo>
                <a:cubicBezTo>
                  <a:pt x="80" y="87"/>
                  <a:pt x="92" y="62"/>
                  <a:pt x="117" y="63"/>
                </a:cubicBezTo>
                <a:cubicBezTo>
                  <a:pt x="142" y="63"/>
                  <a:pt x="153" y="87"/>
                  <a:pt x="141" y="82"/>
                </a:cubicBezTo>
                <a:cubicBezTo>
                  <a:pt x="133" y="79"/>
                  <a:pt x="126" y="77"/>
                  <a:pt x="117" y="77"/>
                </a:cubicBezTo>
                <a:close/>
                <a:moveTo>
                  <a:pt x="88" y="61"/>
                </a:moveTo>
                <a:cubicBezTo>
                  <a:pt x="104" y="45"/>
                  <a:pt x="130" y="45"/>
                  <a:pt x="146" y="61"/>
                </a:cubicBezTo>
                <a:cubicBezTo>
                  <a:pt x="162" y="77"/>
                  <a:pt x="162" y="103"/>
                  <a:pt x="146" y="119"/>
                </a:cubicBezTo>
                <a:cubicBezTo>
                  <a:pt x="130" y="135"/>
                  <a:pt x="104" y="135"/>
                  <a:pt x="88" y="119"/>
                </a:cubicBezTo>
                <a:cubicBezTo>
                  <a:pt x="72" y="103"/>
                  <a:pt x="72" y="77"/>
                  <a:pt x="88" y="61"/>
                </a:cubicBezTo>
                <a:close/>
                <a:moveTo>
                  <a:pt x="76" y="49"/>
                </a:moveTo>
                <a:cubicBezTo>
                  <a:pt x="99" y="27"/>
                  <a:pt x="135" y="27"/>
                  <a:pt x="157" y="49"/>
                </a:cubicBezTo>
                <a:cubicBezTo>
                  <a:pt x="179" y="71"/>
                  <a:pt x="179" y="108"/>
                  <a:pt x="157" y="130"/>
                </a:cubicBezTo>
                <a:cubicBezTo>
                  <a:pt x="135" y="152"/>
                  <a:pt x="99" y="152"/>
                  <a:pt x="76" y="130"/>
                </a:cubicBezTo>
                <a:cubicBezTo>
                  <a:pt x="54" y="108"/>
                  <a:pt x="54" y="71"/>
                  <a:pt x="76" y="49"/>
                </a:cubicBezTo>
                <a:close/>
                <a:moveTo>
                  <a:pt x="155" y="147"/>
                </a:moveTo>
                <a:cubicBezTo>
                  <a:pt x="153" y="140"/>
                  <a:pt x="165" y="127"/>
                  <a:pt x="172" y="130"/>
                </a:cubicBezTo>
                <a:cubicBezTo>
                  <a:pt x="181" y="132"/>
                  <a:pt x="197" y="148"/>
                  <a:pt x="200" y="158"/>
                </a:cubicBezTo>
                <a:cubicBezTo>
                  <a:pt x="202" y="164"/>
                  <a:pt x="190" y="177"/>
                  <a:pt x="183" y="175"/>
                </a:cubicBezTo>
                <a:cubicBezTo>
                  <a:pt x="174" y="172"/>
                  <a:pt x="158" y="156"/>
                  <a:pt x="155" y="147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84458" y="4025086"/>
            <a:ext cx="335414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GB" dirty="0" smtClean="0">
                <a:solidFill>
                  <a:schemeClr val="bg1"/>
                </a:solidFill>
              </a:rPr>
              <a:t>Leverage the full benefits of collaboration – with local stakeholders, implementing partners, external experts, peers and hierarch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702679" y="4350603"/>
            <a:ext cx="2674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GB" dirty="0" smtClean="0">
                <a:solidFill>
                  <a:schemeClr val="bg1"/>
                </a:solidFill>
              </a:rPr>
              <a:t>Work anywhere and anytime if the urgency of the situation or his personal preferences call for it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6" name="Freeform 50"/>
          <p:cNvSpPr>
            <a:spLocks noEditPoints="1"/>
          </p:cNvSpPr>
          <p:nvPr/>
        </p:nvSpPr>
        <p:spPr bwMode="gray">
          <a:xfrm>
            <a:off x="9700499" y="3686489"/>
            <a:ext cx="789994" cy="457690"/>
          </a:xfrm>
          <a:custGeom>
            <a:avLst/>
            <a:gdLst>
              <a:gd name="T0" fmla="*/ 912 w 1651"/>
              <a:gd name="T1" fmla="*/ 274 h 954"/>
              <a:gd name="T2" fmla="*/ 1010 w 1651"/>
              <a:gd name="T3" fmla="*/ 303 h 954"/>
              <a:gd name="T4" fmla="*/ 1032 w 1651"/>
              <a:gd name="T5" fmla="*/ 647 h 954"/>
              <a:gd name="T6" fmla="*/ 794 w 1651"/>
              <a:gd name="T7" fmla="*/ 669 h 954"/>
              <a:gd name="T8" fmla="*/ 772 w 1651"/>
              <a:gd name="T9" fmla="*/ 414 h 954"/>
              <a:gd name="T10" fmla="*/ 883 w 1651"/>
              <a:gd name="T11" fmla="*/ 362 h 954"/>
              <a:gd name="T12" fmla="*/ 868 w 1651"/>
              <a:gd name="T13" fmla="*/ 274 h 954"/>
              <a:gd name="T14" fmla="*/ 857 w 1651"/>
              <a:gd name="T15" fmla="*/ 278 h 954"/>
              <a:gd name="T16" fmla="*/ 742 w 1651"/>
              <a:gd name="T17" fmla="*/ 399 h 954"/>
              <a:gd name="T18" fmla="*/ 742 w 1651"/>
              <a:gd name="T19" fmla="*/ 647 h 954"/>
              <a:gd name="T20" fmla="*/ 1010 w 1651"/>
              <a:gd name="T21" fmla="*/ 699 h 954"/>
              <a:gd name="T22" fmla="*/ 1062 w 1651"/>
              <a:gd name="T23" fmla="*/ 325 h 954"/>
              <a:gd name="T24" fmla="*/ 853 w 1651"/>
              <a:gd name="T25" fmla="*/ 324 h 954"/>
              <a:gd name="T26" fmla="*/ 831 w 1651"/>
              <a:gd name="T27" fmla="*/ 384 h 954"/>
              <a:gd name="T28" fmla="*/ 853 w 1651"/>
              <a:gd name="T29" fmla="*/ 324 h 954"/>
              <a:gd name="T30" fmla="*/ 554 w 1651"/>
              <a:gd name="T31" fmla="*/ 435 h 954"/>
              <a:gd name="T32" fmla="*/ 125 w 1651"/>
              <a:gd name="T33" fmla="*/ 733 h 954"/>
              <a:gd name="T34" fmla="*/ 285 w 1651"/>
              <a:gd name="T35" fmla="*/ 498 h 954"/>
              <a:gd name="T36" fmla="*/ 351 w 1651"/>
              <a:gd name="T37" fmla="*/ 576 h 954"/>
              <a:gd name="T38" fmla="*/ 363 w 1651"/>
              <a:gd name="T39" fmla="*/ 667 h 954"/>
              <a:gd name="T40" fmla="*/ 285 w 1651"/>
              <a:gd name="T41" fmla="*/ 623 h 954"/>
              <a:gd name="T42" fmla="*/ 88 w 1651"/>
              <a:gd name="T43" fmla="*/ 774 h 954"/>
              <a:gd name="T44" fmla="*/ 60 w 1651"/>
              <a:gd name="T45" fmla="*/ 410 h 954"/>
              <a:gd name="T46" fmla="*/ 579 w 1651"/>
              <a:gd name="T47" fmla="*/ 372 h 954"/>
              <a:gd name="T48" fmla="*/ 617 w 1651"/>
              <a:gd name="T49" fmla="*/ 774 h 954"/>
              <a:gd name="T50" fmla="*/ 589 w 1651"/>
              <a:gd name="T51" fmla="*/ 410 h 954"/>
              <a:gd name="T52" fmla="*/ 97 w 1651"/>
              <a:gd name="T53" fmla="*/ 400 h 954"/>
              <a:gd name="T54" fmla="*/ 88 w 1651"/>
              <a:gd name="T55" fmla="*/ 774 h 954"/>
              <a:gd name="T56" fmla="*/ 57 w 1651"/>
              <a:gd name="T57" fmla="*/ 799 h 954"/>
              <a:gd name="T58" fmla="*/ 601 w 1651"/>
              <a:gd name="T59" fmla="*/ 890 h 954"/>
              <a:gd name="T60" fmla="*/ 254 w 1651"/>
              <a:gd name="T61" fmla="*/ 871 h 954"/>
              <a:gd name="T62" fmla="*/ 254 w 1651"/>
              <a:gd name="T63" fmla="*/ 818 h 954"/>
              <a:gd name="T64" fmla="*/ 254 w 1651"/>
              <a:gd name="T65" fmla="*/ 871 h 954"/>
              <a:gd name="T66" fmla="*/ 310 w 1651"/>
              <a:gd name="T67" fmla="*/ 846 h 954"/>
              <a:gd name="T68" fmla="*/ 366 w 1651"/>
              <a:gd name="T69" fmla="*/ 846 h 954"/>
              <a:gd name="T70" fmla="*/ 426 w 1651"/>
              <a:gd name="T71" fmla="*/ 871 h 954"/>
              <a:gd name="T72" fmla="*/ 426 w 1651"/>
              <a:gd name="T73" fmla="*/ 818 h 954"/>
              <a:gd name="T74" fmla="*/ 426 w 1651"/>
              <a:gd name="T75" fmla="*/ 871 h 954"/>
              <a:gd name="T76" fmla="*/ 1276 w 1651"/>
              <a:gd name="T77" fmla="*/ 0 h 954"/>
              <a:gd name="T78" fmla="*/ 1225 w 1651"/>
              <a:gd name="T79" fmla="*/ 585 h 954"/>
              <a:gd name="T80" fmla="*/ 1610 w 1651"/>
              <a:gd name="T81" fmla="*/ 631 h 954"/>
              <a:gd name="T82" fmla="*/ 1651 w 1651"/>
              <a:gd name="T83" fmla="*/ 47 h 954"/>
              <a:gd name="T84" fmla="*/ 1438 w 1651"/>
              <a:gd name="T85" fmla="*/ 619 h 954"/>
              <a:gd name="T86" fmla="*/ 1438 w 1651"/>
              <a:gd name="T87" fmla="*/ 589 h 954"/>
              <a:gd name="T88" fmla="*/ 1438 w 1651"/>
              <a:gd name="T89" fmla="*/ 619 h 954"/>
              <a:gd name="T90" fmla="*/ 1262 w 1651"/>
              <a:gd name="T91" fmla="*/ 575 h 954"/>
              <a:gd name="T92" fmla="*/ 1614 w 1651"/>
              <a:gd name="T93" fmla="*/ 37 h 954"/>
              <a:gd name="T94" fmla="*/ 1424 w 1651"/>
              <a:gd name="T95" fmla="*/ 320 h 954"/>
              <a:gd name="T96" fmla="*/ 1401 w 1651"/>
              <a:gd name="T97" fmla="*/ 258 h 954"/>
              <a:gd name="T98" fmla="*/ 1445 w 1651"/>
              <a:gd name="T99" fmla="*/ 309 h 954"/>
              <a:gd name="T100" fmla="*/ 1454 w 1651"/>
              <a:gd name="T101" fmla="*/ 369 h 954"/>
              <a:gd name="T102" fmla="*/ 1106 w 1651"/>
              <a:gd name="T103" fmla="*/ 725 h 954"/>
              <a:gd name="T104" fmla="*/ 1281 w 1651"/>
              <a:gd name="T105" fmla="*/ 915 h 954"/>
              <a:gd name="T106" fmla="*/ 1229 w 1651"/>
              <a:gd name="T107" fmla="*/ 856 h 954"/>
              <a:gd name="T108" fmla="*/ 823 w 1651"/>
              <a:gd name="T109" fmla="*/ 739 h 954"/>
              <a:gd name="T110" fmla="*/ 1163 w 1651"/>
              <a:gd name="T111" fmla="*/ 786 h 954"/>
              <a:gd name="T112" fmla="*/ 1106 w 1651"/>
              <a:gd name="T113" fmla="*/ 725 h 954"/>
              <a:gd name="T114" fmla="*/ 719 w 1651"/>
              <a:gd name="T115" fmla="*/ 245 h 954"/>
              <a:gd name="T116" fmla="*/ 544 w 1651"/>
              <a:gd name="T117" fmla="*/ 54 h 954"/>
              <a:gd name="T118" fmla="*/ 596 w 1651"/>
              <a:gd name="T119" fmla="*/ 114 h 954"/>
              <a:gd name="T120" fmla="*/ 1002 w 1651"/>
              <a:gd name="T121" fmla="*/ 231 h 954"/>
              <a:gd name="T122" fmla="*/ 663 w 1651"/>
              <a:gd name="T123" fmla="*/ 184 h 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51" h="954">
                <a:moveTo>
                  <a:pt x="1010" y="274"/>
                </a:moveTo>
                <a:cubicBezTo>
                  <a:pt x="912" y="274"/>
                  <a:pt x="912" y="274"/>
                  <a:pt x="912" y="274"/>
                </a:cubicBezTo>
                <a:cubicBezTo>
                  <a:pt x="912" y="303"/>
                  <a:pt x="912" y="303"/>
                  <a:pt x="912" y="303"/>
                </a:cubicBezTo>
                <a:cubicBezTo>
                  <a:pt x="1010" y="303"/>
                  <a:pt x="1010" y="303"/>
                  <a:pt x="1010" y="303"/>
                </a:cubicBezTo>
                <a:cubicBezTo>
                  <a:pt x="1022" y="303"/>
                  <a:pt x="1032" y="313"/>
                  <a:pt x="1032" y="325"/>
                </a:cubicBezTo>
                <a:cubicBezTo>
                  <a:pt x="1032" y="647"/>
                  <a:pt x="1032" y="647"/>
                  <a:pt x="1032" y="647"/>
                </a:cubicBezTo>
                <a:cubicBezTo>
                  <a:pt x="1032" y="659"/>
                  <a:pt x="1022" y="669"/>
                  <a:pt x="1010" y="669"/>
                </a:cubicBezTo>
                <a:cubicBezTo>
                  <a:pt x="794" y="669"/>
                  <a:pt x="794" y="669"/>
                  <a:pt x="794" y="669"/>
                </a:cubicBezTo>
                <a:cubicBezTo>
                  <a:pt x="782" y="669"/>
                  <a:pt x="772" y="659"/>
                  <a:pt x="772" y="647"/>
                </a:cubicBezTo>
                <a:cubicBezTo>
                  <a:pt x="772" y="414"/>
                  <a:pt x="772" y="414"/>
                  <a:pt x="772" y="414"/>
                </a:cubicBezTo>
                <a:cubicBezTo>
                  <a:pt x="831" y="414"/>
                  <a:pt x="831" y="414"/>
                  <a:pt x="831" y="414"/>
                </a:cubicBezTo>
                <a:cubicBezTo>
                  <a:pt x="859" y="414"/>
                  <a:pt x="883" y="391"/>
                  <a:pt x="883" y="362"/>
                </a:cubicBezTo>
                <a:cubicBezTo>
                  <a:pt x="883" y="274"/>
                  <a:pt x="883" y="274"/>
                  <a:pt x="883" y="274"/>
                </a:cubicBezTo>
                <a:cubicBezTo>
                  <a:pt x="868" y="274"/>
                  <a:pt x="868" y="274"/>
                  <a:pt x="868" y="274"/>
                </a:cubicBezTo>
                <a:cubicBezTo>
                  <a:pt x="868" y="274"/>
                  <a:pt x="868" y="274"/>
                  <a:pt x="868" y="274"/>
                </a:cubicBezTo>
                <a:cubicBezTo>
                  <a:pt x="864" y="274"/>
                  <a:pt x="860" y="275"/>
                  <a:pt x="857" y="278"/>
                </a:cubicBezTo>
                <a:cubicBezTo>
                  <a:pt x="747" y="389"/>
                  <a:pt x="747" y="389"/>
                  <a:pt x="747" y="389"/>
                </a:cubicBezTo>
                <a:cubicBezTo>
                  <a:pt x="744" y="391"/>
                  <a:pt x="742" y="395"/>
                  <a:pt x="742" y="399"/>
                </a:cubicBezTo>
                <a:cubicBezTo>
                  <a:pt x="742" y="399"/>
                  <a:pt x="742" y="399"/>
                  <a:pt x="742" y="399"/>
                </a:cubicBezTo>
                <a:cubicBezTo>
                  <a:pt x="742" y="647"/>
                  <a:pt x="742" y="647"/>
                  <a:pt x="742" y="647"/>
                </a:cubicBezTo>
                <a:cubicBezTo>
                  <a:pt x="742" y="676"/>
                  <a:pt x="766" y="699"/>
                  <a:pt x="794" y="699"/>
                </a:cubicBezTo>
                <a:cubicBezTo>
                  <a:pt x="1010" y="699"/>
                  <a:pt x="1010" y="699"/>
                  <a:pt x="1010" y="699"/>
                </a:cubicBezTo>
                <a:cubicBezTo>
                  <a:pt x="1038" y="699"/>
                  <a:pt x="1062" y="676"/>
                  <a:pt x="1062" y="647"/>
                </a:cubicBezTo>
                <a:cubicBezTo>
                  <a:pt x="1062" y="325"/>
                  <a:pt x="1062" y="325"/>
                  <a:pt x="1062" y="325"/>
                </a:cubicBezTo>
                <a:cubicBezTo>
                  <a:pt x="1062" y="297"/>
                  <a:pt x="1038" y="274"/>
                  <a:pt x="1010" y="274"/>
                </a:cubicBezTo>
                <a:close/>
                <a:moveTo>
                  <a:pt x="853" y="324"/>
                </a:moveTo>
                <a:cubicBezTo>
                  <a:pt x="853" y="362"/>
                  <a:pt x="853" y="362"/>
                  <a:pt x="853" y="362"/>
                </a:cubicBezTo>
                <a:cubicBezTo>
                  <a:pt x="853" y="374"/>
                  <a:pt x="843" y="384"/>
                  <a:pt x="831" y="384"/>
                </a:cubicBezTo>
                <a:cubicBezTo>
                  <a:pt x="793" y="384"/>
                  <a:pt x="793" y="384"/>
                  <a:pt x="793" y="384"/>
                </a:cubicBezTo>
                <a:lnTo>
                  <a:pt x="853" y="324"/>
                </a:lnTo>
                <a:close/>
                <a:moveTo>
                  <a:pt x="554" y="733"/>
                </a:moveTo>
                <a:cubicBezTo>
                  <a:pt x="554" y="435"/>
                  <a:pt x="554" y="435"/>
                  <a:pt x="554" y="435"/>
                </a:cubicBezTo>
                <a:cubicBezTo>
                  <a:pt x="125" y="435"/>
                  <a:pt x="125" y="435"/>
                  <a:pt x="125" y="435"/>
                </a:cubicBezTo>
                <a:cubicBezTo>
                  <a:pt x="125" y="733"/>
                  <a:pt x="125" y="733"/>
                  <a:pt x="125" y="733"/>
                </a:cubicBezTo>
                <a:cubicBezTo>
                  <a:pt x="554" y="733"/>
                  <a:pt x="554" y="733"/>
                  <a:pt x="554" y="733"/>
                </a:cubicBezTo>
                <a:close/>
                <a:moveTo>
                  <a:pt x="285" y="498"/>
                </a:moveTo>
                <a:cubicBezTo>
                  <a:pt x="391" y="564"/>
                  <a:pt x="391" y="564"/>
                  <a:pt x="391" y="564"/>
                </a:cubicBezTo>
                <a:cubicBezTo>
                  <a:pt x="351" y="576"/>
                  <a:pt x="351" y="576"/>
                  <a:pt x="351" y="576"/>
                </a:cubicBezTo>
                <a:cubicBezTo>
                  <a:pt x="391" y="651"/>
                  <a:pt x="391" y="651"/>
                  <a:pt x="391" y="651"/>
                </a:cubicBezTo>
                <a:cubicBezTo>
                  <a:pt x="398" y="661"/>
                  <a:pt x="366" y="676"/>
                  <a:pt x="363" y="667"/>
                </a:cubicBezTo>
                <a:cubicBezTo>
                  <a:pt x="319" y="592"/>
                  <a:pt x="319" y="592"/>
                  <a:pt x="319" y="592"/>
                </a:cubicBezTo>
                <a:cubicBezTo>
                  <a:pt x="285" y="623"/>
                  <a:pt x="285" y="623"/>
                  <a:pt x="285" y="623"/>
                </a:cubicBezTo>
                <a:cubicBezTo>
                  <a:pt x="285" y="498"/>
                  <a:pt x="285" y="498"/>
                  <a:pt x="285" y="498"/>
                </a:cubicBezTo>
                <a:close/>
                <a:moveTo>
                  <a:pt x="88" y="774"/>
                </a:moveTo>
                <a:cubicBezTo>
                  <a:pt x="60" y="774"/>
                  <a:pt x="60" y="774"/>
                  <a:pt x="60" y="774"/>
                </a:cubicBezTo>
                <a:cubicBezTo>
                  <a:pt x="60" y="410"/>
                  <a:pt x="60" y="410"/>
                  <a:pt x="60" y="410"/>
                </a:cubicBezTo>
                <a:cubicBezTo>
                  <a:pt x="60" y="391"/>
                  <a:pt x="79" y="372"/>
                  <a:pt x="97" y="372"/>
                </a:cubicBezTo>
                <a:cubicBezTo>
                  <a:pt x="579" y="372"/>
                  <a:pt x="579" y="372"/>
                  <a:pt x="579" y="372"/>
                </a:cubicBezTo>
                <a:cubicBezTo>
                  <a:pt x="601" y="372"/>
                  <a:pt x="617" y="391"/>
                  <a:pt x="617" y="410"/>
                </a:cubicBezTo>
                <a:cubicBezTo>
                  <a:pt x="617" y="774"/>
                  <a:pt x="617" y="774"/>
                  <a:pt x="617" y="774"/>
                </a:cubicBezTo>
                <a:cubicBezTo>
                  <a:pt x="589" y="774"/>
                  <a:pt x="589" y="774"/>
                  <a:pt x="589" y="774"/>
                </a:cubicBezTo>
                <a:cubicBezTo>
                  <a:pt x="589" y="410"/>
                  <a:pt x="589" y="410"/>
                  <a:pt x="589" y="410"/>
                </a:cubicBezTo>
                <a:cubicBezTo>
                  <a:pt x="589" y="407"/>
                  <a:pt x="585" y="400"/>
                  <a:pt x="579" y="400"/>
                </a:cubicBezTo>
                <a:cubicBezTo>
                  <a:pt x="97" y="400"/>
                  <a:pt x="97" y="400"/>
                  <a:pt x="97" y="400"/>
                </a:cubicBezTo>
                <a:cubicBezTo>
                  <a:pt x="94" y="400"/>
                  <a:pt x="88" y="407"/>
                  <a:pt x="88" y="410"/>
                </a:cubicBezTo>
                <a:cubicBezTo>
                  <a:pt x="88" y="774"/>
                  <a:pt x="88" y="774"/>
                  <a:pt x="88" y="774"/>
                </a:cubicBezTo>
                <a:close/>
                <a:moveTo>
                  <a:pt x="620" y="799"/>
                </a:moveTo>
                <a:cubicBezTo>
                  <a:pt x="620" y="799"/>
                  <a:pt x="620" y="799"/>
                  <a:pt x="57" y="799"/>
                </a:cubicBezTo>
                <a:cubicBezTo>
                  <a:pt x="0" y="799"/>
                  <a:pt x="19" y="890"/>
                  <a:pt x="75" y="890"/>
                </a:cubicBezTo>
                <a:cubicBezTo>
                  <a:pt x="75" y="890"/>
                  <a:pt x="75" y="890"/>
                  <a:pt x="601" y="890"/>
                </a:cubicBezTo>
                <a:cubicBezTo>
                  <a:pt x="657" y="890"/>
                  <a:pt x="676" y="799"/>
                  <a:pt x="620" y="799"/>
                </a:cubicBezTo>
                <a:close/>
                <a:moveTo>
                  <a:pt x="254" y="871"/>
                </a:moveTo>
                <a:cubicBezTo>
                  <a:pt x="238" y="871"/>
                  <a:pt x="226" y="858"/>
                  <a:pt x="226" y="846"/>
                </a:cubicBezTo>
                <a:cubicBezTo>
                  <a:pt x="226" y="830"/>
                  <a:pt x="238" y="818"/>
                  <a:pt x="254" y="818"/>
                </a:cubicBezTo>
                <a:cubicBezTo>
                  <a:pt x="266" y="818"/>
                  <a:pt x="279" y="830"/>
                  <a:pt x="279" y="846"/>
                </a:cubicBezTo>
                <a:cubicBezTo>
                  <a:pt x="279" y="858"/>
                  <a:pt x="266" y="871"/>
                  <a:pt x="254" y="871"/>
                </a:cubicBezTo>
                <a:close/>
                <a:moveTo>
                  <a:pt x="338" y="871"/>
                </a:moveTo>
                <a:cubicBezTo>
                  <a:pt x="323" y="871"/>
                  <a:pt x="310" y="858"/>
                  <a:pt x="310" y="846"/>
                </a:cubicBezTo>
                <a:cubicBezTo>
                  <a:pt x="310" y="830"/>
                  <a:pt x="323" y="818"/>
                  <a:pt x="338" y="818"/>
                </a:cubicBezTo>
                <a:cubicBezTo>
                  <a:pt x="354" y="818"/>
                  <a:pt x="366" y="830"/>
                  <a:pt x="366" y="846"/>
                </a:cubicBezTo>
                <a:cubicBezTo>
                  <a:pt x="366" y="858"/>
                  <a:pt x="354" y="871"/>
                  <a:pt x="338" y="871"/>
                </a:cubicBezTo>
                <a:close/>
                <a:moveTo>
                  <a:pt x="426" y="871"/>
                </a:moveTo>
                <a:cubicBezTo>
                  <a:pt x="410" y="871"/>
                  <a:pt x="398" y="858"/>
                  <a:pt x="398" y="846"/>
                </a:cubicBezTo>
                <a:cubicBezTo>
                  <a:pt x="398" y="830"/>
                  <a:pt x="410" y="818"/>
                  <a:pt x="426" y="818"/>
                </a:cubicBezTo>
                <a:cubicBezTo>
                  <a:pt x="438" y="818"/>
                  <a:pt x="451" y="830"/>
                  <a:pt x="451" y="846"/>
                </a:cubicBezTo>
                <a:cubicBezTo>
                  <a:pt x="451" y="858"/>
                  <a:pt x="438" y="871"/>
                  <a:pt x="426" y="871"/>
                </a:cubicBezTo>
                <a:close/>
                <a:moveTo>
                  <a:pt x="1610" y="0"/>
                </a:moveTo>
                <a:cubicBezTo>
                  <a:pt x="1276" y="0"/>
                  <a:pt x="1276" y="0"/>
                  <a:pt x="1276" y="0"/>
                </a:cubicBezTo>
                <a:cubicBezTo>
                  <a:pt x="1250" y="0"/>
                  <a:pt x="1225" y="21"/>
                  <a:pt x="1225" y="47"/>
                </a:cubicBezTo>
                <a:cubicBezTo>
                  <a:pt x="1225" y="585"/>
                  <a:pt x="1225" y="585"/>
                  <a:pt x="1225" y="585"/>
                </a:cubicBezTo>
                <a:cubicBezTo>
                  <a:pt x="1225" y="610"/>
                  <a:pt x="1250" y="631"/>
                  <a:pt x="1276" y="631"/>
                </a:cubicBezTo>
                <a:cubicBezTo>
                  <a:pt x="1610" y="631"/>
                  <a:pt x="1610" y="631"/>
                  <a:pt x="1610" y="631"/>
                </a:cubicBezTo>
                <a:cubicBezTo>
                  <a:pt x="1635" y="631"/>
                  <a:pt x="1651" y="610"/>
                  <a:pt x="1651" y="585"/>
                </a:cubicBezTo>
                <a:cubicBezTo>
                  <a:pt x="1651" y="47"/>
                  <a:pt x="1651" y="47"/>
                  <a:pt x="1651" y="47"/>
                </a:cubicBezTo>
                <a:cubicBezTo>
                  <a:pt x="1651" y="21"/>
                  <a:pt x="1635" y="0"/>
                  <a:pt x="1610" y="0"/>
                </a:cubicBezTo>
                <a:close/>
                <a:moveTo>
                  <a:pt x="1438" y="619"/>
                </a:moveTo>
                <a:cubicBezTo>
                  <a:pt x="1431" y="619"/>
                  <a:pt x="1424" y="612"/>
                  <a:pt x="1424" y="603"/>
                </a:cubicBezTo>
                <a:cubicBezTo>
                  <a:pt x="1424" y="596"/>
                  <a:pt x="1431" y="589"/>
                  <a:pt x="1438" y="589"/>
                </a:cubicBezTo>
                <a:cubicBezTo>
                  <a:pt x="1445" y="589"/>
                  <a:pt x="1452" y="596"/>
                  <a:pt x="1452" y="603"/>
                </a:cubicBezTo>
                <a:cubicBezTo>
                  <a:pt x="1452" y="612"/>
                  <a:pt x="1445" y="619"/>
                  <a:pt x="1438" y="619"/>
                </a:cubicBezTo>
                <a:close/>
                <a:moveTo>
                  <a:pt x="1614" y="575"/>
                </a:moveTo>
                <a:cubicBezTo>
                  <a:pt x="1262" y="575"/>
                  <a:pt x="1262" y="575"/>
                  <a:pt x="1262" y="575"/>
                </a:cubicBezTo>
                <a:cubicBezTo>
                  <a:pt x="1262" y="37"/>
                  <a:pt x="1262" y="37"/>
                  <a:pt x="1262" y="37"/>
                </a:cubicBezTo>
                <a:cubicBezTo>
                  <a:pt x="1614" y="37"/>
                  <a:pt x="1614" y="37"/>
                  <a:pt x="1614" y="37"/>
                </a:cubicBezTo>
                <a:lnTo>
                  <a:pt x="1614" y="575"/>
                </a:lnTo>
                <a:close/>
                <a:moveTo>
                  <a:pt x="1424" y="320"/>
                </a:moveTo>
                <a:cubicBezTo>
                  <a:pt x="1401" y="341"/>
                  <a:pt x="1401" y="341"/>
                  <a:pt x="1401" y="341"/>
                </a:cubicBezTo>
                <a:cubicBezTo>
                  <a:pt x="1401" y="258"/>
                  <a:pt x="1401" y="258"/>
                  <a:pt x="1401" y="258"/>
                </a:cubicBezTo>
                <a:cubicBezTo>
                  <a:pt x="1475" y="302"/>
                  <a:pt x="1471" y="302"/>
                  <a:pt x="1471" y="302"/>
                </a:cubicBezTo>
                <a:cubicBezTo>
                  <a:pt x="1445" y="309"/>
                  <a:pt x="1445" y="309"/>
                  <a:pt x="1445" y="309"/>
                </a:cubicBezTo>
                <a:cubicBezTo>
                  <a:pt x="1473" y="360"/>
                  <a:pt x="1473" y="360"/>
                  <a:pt x="1473" y="360"/>
                </a:cubicBezTo>
                <a:cubicBezTo>
                  <a:pt x="1477" y="364"/>
                  <a:pt x="1457" y="376"/>
                  <a:pt x="1454" y="369"/>
                </a:cubicBezTo>
                <a:cubicBezTo>
                  <a:pt x="1426" y="320"/>
                  <a:pt x="1424" y="320"/>
                  <a:pt x="1424" y="320"/>
                </a:cubicBezTo>
                <a:close/>
                <a:moveTo>
                  <a:pt x="1106" y="725"/>
                </a:moveTo>
                <a:cubicBezTo>
                  <a:pt x="1323" y="699"/>
                  <a:pt x="1323" y="699"/>
                  <a:pt x="1323" y="699"/>
                </a:cubicBezTo>
                <a:cubicBezTo>
                  <a:pt x="1281" y="915"/>
                  <a:pt x="1281" y="915"/>
                  <a:pt x="1281" y="915"/>
                </a:cubicBezTo>
                <a:cubicBezTo>
                  <a:pt x="1238" y="847"/>
                  <a:pt x="1238" y="847"/>
                  <a:pt x="1238" y="847"/>
                </a:cubicBezTo>
                <a:cubicBezTo>
                  <a:pt x="1229" y="856"/>
                  <a:pt x="1229" y="856"/>
                  <a:pt x="1229" y="856"/>
                </a:cubicBezTo>
                <a:cubicBezTo>
                  <a:pt x="1121" y="952"/>
                  <a:pt x="963" y="954"/>
                  <a:pt x="877" y="860"/>
                </a:cubicBezTo>
                <a:cubicBezTo>
                  <a:pt x="847" y="827"/>
                  <a:pt x="829" y="786"/>
                  <a:pt x="823" y="739"/>
                </a:cubicBezTo>
                <a:cubicBezTo>
                  <a:pt x="832" y="751"/>
                  <a:pt x="839" y="764"/>
                  <a:pt x="848" y="774"/>
                </a:cubicBezTo>
                <a:cubicBezTo>
                  <a:pt x="929" y="862"/>
                  <a:pt x="1071" y="867"/>
                  <a:pt x="1163" y="786"/>
                </a:cubicBezTo>
                <a:cubicBezTo>
                  <a:pt x="1175" y="775"/>
                  <a:pt x="1175" y="775"/>
                  <a:pt x="1175" y="775"/>
                </a:cubicBezTo>
                <a:cubicBezTo>
                  <a:pt x="1106" y="725"/>
                  <a:pt x="1106" y="725"/>
                  <a:pt x="1106" y="725"/>
                </a:cubicBezTo>
                <a:close/>
                <a:moveTo>
                  <a:pt x="650" y="195"/>
                </a:moveTo>
                <a:cubicBezTo>
                  <a:pt x="719" y="245"/>
                  <a:pt x="719" y="245"/>
                  <a:pt x="719" y="245"/>
                </a:cubicBezTo>
                <a:cubicBezTo>
                  <a:pt x="502" y="271"/>
                  <a:pt x="502" y="271"/>
                  <a:pt x="502" y="271"/>
                </a:cubicBezTo>
                <a:cubicBezTo>
                  <a:pt x="544" y="54"/>
                  <a:pt x="544" y="54"/>
                  <a:pt x="544" y="54"/>
                </a:cubicBezTo>
                <a:cubicBezTo>
                  <a:pt x="587" y="123"/>
                  <a:pt x="587" y="123"/>
                  <a:pt x="587" y="123"/>
                </a:cubicBezTo>
                <a:cubicBezTo>
                  <a:pt x="596" y="114"/>
                  <a:pt x="596" y="114"/>
                  <a:pt x="596" y="114"/>
                </a:cubicBezTo>
                <a:cubicBezTo>
                  <a:pt x="704" y="18"/>
                  <a:pt x="862" y="16"/>
                  <a:pt x="948" y="110"/>
                </a:cubicBezTo>
                <a:cubicBezTo>
                  <a:pt x="978" y="142"/>
                  <a:pt x="996" y="184"/>
                  <a:pt x="1002" y="231"/>
                </a:cubicBezTo>
                <a:cubicBezTo>
                  <a:pt x="993" y="219"/>
                  <a:pt x="986" y="205"/>
                  <a:pt x="977" y="196"/>
                </a:cubicBezTo>
                <a:cubicBezTo>
                  <a:pt x="896" y="107"/>
                  <a:pt x="754" y="102"/>
                  <a:pt x="663" y="184"/>
                </a:cubicBezTo>
                <a:cubicBezTo>
                  <a:pt x="650" y="195"/>
                  <a:pt x="650" y="195"/>
                  <a:pt x="650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29B"/>
              </a:buClr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 Unicode MS"/>
            </a:endParaRPr>
          </a:p>
        </p:txBody>
      </p:sp>
      <p:sp>
        <p:nvSpPr>
          <p:cNvPr id="17" name="Freeform 58"/>
          <p:cNvSpPr>
            <a:spLocks noChangeAspect="1" noEditPoints="1"/>
          </p:cNvSpPr>
          <p:nvPr/>
        </p:nvSpPr>
        <p:spPr bwMode="gray">
          <a:xfrm>
            <a:off x="2084378" y="3498938"/>
            <a:ext cx="492848" cy="440417"/>
          </a:xfrm>
          <a:custGeom>
            <a:avLst/>
            <a:gdLst>
              <a:gd name="T0" fmla="*/ 710 w 1389"/>
              <a:gd name="T1" fmla="*/ 860 h 1222"/>
              <a:gd name="T2" fmla="*/ 710 w 1389"/>
              <a:gd name="T3" fmla="*/ 860 h 1222"/>
              <a:gd name="T4" fmla="*/ 529 w 1389"/>
              <a:gd name="T5" fmla="*/ 650 h 1222"/>
              <a:gd name="T6" fmla="*/ 589 w 1389"/>
              <a:gd name="T7" fmla="*/ 494 h 1222"/>
              <a:gd name="T8" fmla="*/ 641 w 1389"/>
              <a:gd name="T9" fmla="*/ 385 h 1222"/>
              <a:gd name="T10" fmla="*/ 621 w 1389"/>
              <a:gd name="T11" fmla="*/ 332 h 1222"/>
              <a:gd name="T12" fmla="*/ 635 w 1389"/>
              <a:gd name="T13" fmla="*/ 219 h 1222"/>
              <a:gd name="T14" fmla="*/ 414 w 1389"/>
              <a:gd name="T15" fmla="*/ 0 h 1222"/>
              <a:gd name="T16" fmla="*/ 192 w 1389"/>
              <a:gd name="T17" fmla="*/ 219 h 1222"/>
              <a:gd name="T18" fmla="*/ 207 w 1389"/>
              <a:gd name="T19" fmla="*/ 332 h 1222"/>
              <a:gd name="T20" fmla="*/ 187 w 1389"/>
              <a:gd name="T21" fmla="*/ 385 h 1222"/>
              <a:gd name="T22" fmla="*/ 238 w 1389"/>
              <a:gd name="T23" fmla="*/ 494 h 1222"/>
              <a:gd name="T24" fmla="*/ 299 w 1389"/>
              <a:gd name="T25" fmla="*/ 650 h 1222"/>
              <a:gd name="T26" fmla="*/ 117 w 1389"/>
              <a:gd name="T27" fmla="*/ 860 h 1222"/>
              <a:gd name="T28" fmla="*/ 0 w 1389"/>
              <a:gd name="T29" fmla="*/ 969 h 1222"/>
              <a:gd name="T30" fmla="*/ 0 w 1389"/>
              <a:gd name="T31" fmla="*/ 1222 h 1222"/>
              <a:gd name="T32" fmla="*/ 965 w 1389"/>
              <a:gd name="T33" fmla="*/ 1222 h 1222"/>
              <a:gd name="T34" fmla="*/ 965 w 1389"/>
              <a:gd name="T35" fmla="*/ 1033 h 1222"/>
              <a:gd name="T36" fmla="*/ 710 w 1389"/>
              <a:gd name="T37" fmla="*/ 860 h 1222"/>
              <a:gd name="T38" fmla="*/ 710 w 1389"/>
              <a:gd name="T39" fmla="*/ 860 h 1222"/>
              <a:gd name="T40" fmla="*/ 1389 w 1389"/>
              <a:gd name="T41" fmla="*/ 1222 h 1222"/>
              <a:gd name="T42" fmla="*/ 1389 w 1389"/>
              <a:gd name="T43" fmla="*/ 1222 h 1222"/>
              <a:gd name="T44" fmla="*/ 1371 w 1389"/>
              <a:gd name="T45" fmla="*/ 932 h 1222"/>
              <a:gd name="T46" fmla="*/ 1188 w 1389"/>
              <a:gd name="T47" fmla="*/ 820 h 1222"/>
              <a:gd name="T48" fmla="*/ 1052 w 1389"/>
              <a:gd name="T49" fmla="*/ 663 h 1222"/>
              <a:gd name="T50" fmla="*/ 1097 w 1389"/>
              <a:gd name="T51" fmla="*/ 546 h 1222"/>
              <a:gd name="T52" fmla="*/ 1136 w 1389"/>
              <a:gd name="T53" fmla="*/ 465 h 1222"/>
              <a:gd name="T54" fmla="*/ 1121 w 1389"/>
              <a:gd name="T55" fmla="*/ 424 h 1222"/>
              <a:gd name="T56" fmla="*/ 1131 w 1389"/>
              <a:gd name="T57" fmla="*/ 340 h 1222"/>
              <a:gd name="T58" fmla="*/ 965 w 1389"/>
              <a:gd name="T59" fmla="*/ 176 h 1222"/>
              <a:gd name="T60" fmla="*/ 799 w 1389"/>
              <a:gd name="T61" fmla="*/ 340 h 1222"/>
              <a:gd name="T62" fmla="*/ 810 w 1389"/>
              <a:gd name="T63" fmla="*/ 424 h 1222"/>
              <a:gd name="T64" fmla="*/ 795 w 1389"/>
              <a:gd name="T65" fmla="*/ 465 h 1222"/>
              <a:gd name="T66" fmla="*/ 834 w 1389"/>
              <a:gd name="T67" fmla="*/ 546 h 1222"/>
              <a:gd name="T68" fmla="*/ 879 w 1389"/>
              <a:gd name="T69" fmla="*/ 663 h 1222"/>
              <a:gd name="T70" fmla="*/ 821 w 1389"/>
              <a:gd name="T71" fmla="*/ 780 h 1222"/>
              <a:gd name="T72" fmla="*/ 1077 w 1389"/>
              <a:gd name="T73" fmla="*/ 1016 h 1222"/>
              <a:gd name="T74" fmla="*/ 1077 w 1389"/>
              <a:gd name="T75" fmla="*/ 1222 h 1222"/>
              <a:gd name="T76" fmla="*/ 1389 w 1389"/>
              <a:gd name="T77" fmla="*/ 1222 h 1222"/>
              <a:gd name="T78" fmla="*/ 1389 w 1389"/>
              <a:gd name="T79" fmla="*/ 1222 h 1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389" h="1222">
                <a:moveTo>
                  <a:pt x="710" y="860"/>
                </a:moveTo>
                <a:lnTo>
                  <a:pt x="710" y="860"/>
                </a:lnTo>
                <a:cubicBezTo>
                  <a:pt x="573" y="802"/>
                  <a:pt x="529" y="754"/>
                  <a:pt x="529" y="650"/>
                </a:cubicBezTo>
                <a:cubicBezTo>
                  <a:pt x="529" y="588"/>
                  <a:pt x="571" y="608"/>
                  <a:pt x="589" y="494"/>
                </a:cubicBezTo>
                <a:cubicBezTo>
                  <a:pt x="597" y="447"/>
                  <a:pt x="634" y="493"/>
                  <a:pt x="641" y="385"/>
                </a:cubicBezTo>
                <a:cubicBezTo>
                  <a:pt x="641" y="342"/>
                  <a:pt x="621" y="332"/>
                  <a:pt x="621" y="332"/>
                </a:cubicBezTo>
                <a:cubicBezTo>
                  <a:pt x="621" y="332"/>
                  <a:pt x="631" y="268"/>
                  <a:pt x="635" y="219"/>
                </a:cubicBezTo>
                <a:cubicBezTo>
                  <a:pt x="640" y="158"/>
                  <a:pt x="605" y="0"/>
                  <a:pt x="414" y="0"/>
                </a:cubicBezTo>
                <a:cubicBezTo>
                  <a:pt x="223" y="0"/>
                  <a:pt x="187" y="158"/>
                  <a:pt x="192" y="219"/>
                </a:cubicBezTo>
                <a:cubicBezTo>
                  <a:pt x="197" y="268"/>
                  <a:pt x="207" y="332"/>
                  <a:pt x="207" y="332"/>
                </a:cubicBezTo>
                <a:cubicBezTo>
                  <a:pt x="207" y="332"/>
                  <a:pt x="187" y="342"/>
                  <a:pt x="187" y="385"/>
                </a:cubicBezTo>
                <a:cubicBezTo>
                  <a:pt x="194" y="493"/>
                  <a:pt x="231" y="447"/>
                  <a:pt x="238" y="494"/>
                </a:cubicBezTo>
                <a:cubicBezTo>
                  <a:pt x="257" y="608"/>
                  <a:pt x="299" y="588"/>
                  <a:pt x="299" y="650"/>
                </a:cubicBezTo>
                <a:cubicBezTo>
                  <a:pt x="299" y="754"/>
                  <a:pt x="255" y="802"/>
                  <a:pt x="117" y="860"/>
                </a:cubicBezTo>
                <a:cubicBezTo>
                  <a:pt x="76" y="877"/>
                  <a:pt x="0" y="904"/>
                  <a:pt x="0" y="969"/>
                </a:cubicBezTo>
                <a:lnTo>
                  <a:pt x="0" y="1222"/>
                </a:lnTo>
                <a:lnTo>
                  <a:pt x="965" y="1222"/>
                </a:lnTo>
                <a:cubicBezTo>
                  <a:pt x="965" y="1222"/>
                  <a:pt x="965" y="1073"/>
                  <a:pt x="965" y="1033"/>
                </a:cubicBezTo>
                <a:cubicBezTo>
                  <a:pt x="965" y="973"/>
                  <a:pt x="848" y="917"/>
                  <a:pt x="710" y="860"/>
                </a:cubicBezTo>
                <a:lnTo>
                  <a:pt x="710" y="860"/>
                </a:lnTo>
                <a:close/>
                <a:moveTo>
                  <a:pt x="1389" y="1222"/>
                </a:moveTo>
                <a:lnTo>
                  <a:pt x="1389" y="1222"/>
                </a:lnTo>
                <a:cubicBezTo>
                  <a:pt x="1389" y="1222"/>
                  <a:pt x="1387" y="959"/>
                  <a:pt x="1371" y="932"/>
                </a:cubicBezTo>
                <a:cubicBezTo>
                  <a:pt x="1347" y="892"/>
                  <a:pt x="1291" y="864"/>
                  <a:pt x="1188" y="820"/>
                </a:cubicBezTo>
                <a:cubicBezTo>
                  <a:pt x="1085" y="777"/>
                  <a:pt x="1052" y="741"/>
                  <a:pt x="1052" y="663"/>
                </a:cubicBezTo>
                <a:cubicBezTo>
                  <a:pt x="1052" y="617"/>
                  <a:pt x="1083" y="632"/>
                  <a:pt x="1097" y="546"/>
                </a:cubicBezTo>
                <a:cubicBezTo>
                  <a:pt x="1103" y="511"/>
                  <a:pt x="1130" y="546"/>
                  <a:pt x="1136" y="465"/>
                </a:cubicBezTo>
                <a:cubicBezTo>
                  <a:pt x="1136" y="433"/>
                  <a:pt x="1121" y="424"/>
                  <a:pt x="1121" y="424"/>
                </a:cubicBezTo>
                <a:cubicBezTo>
                  <a:pt x="1121" y="424"/>
                  <a:pt x="1128" y="377"/>
                  <a:pt x="1131" y="340"/>
                </a:cubicBezTo>
                <a:cubicBezTo>
                  <a:pt x="1135" y="294"/>
                  <a:pt x="1108" y="176"/>
                  <a:pt x="965" y="176"/>
                </a:cubicBezTo>
                <a:cubicBezTo>
                  <a:pt x="822" y="176"/>
                  <a:pt x="795" y="294"/>
                  <a:pt x="799" y="340"/>
                </a:cubicBezTo>
                <a:cubicBezTo>
                  <a:pt x="802" y="377"/>
                  <a:pt x="810" y="424"/>
                  <a:pt x="810" y="424"/>
                </a:cubicBezTo>
                <a:cubicBezTo>
                  <a:pt x="810" y="424"/>
                  <a:pt x="795" y="433"/>
                  <a:pt x="795" y="465"/>
                </a:cubicBezTo>
                <a:cubicBezTo>
                  <a:pt x="800" y="546"/>
                  <a:pt x="828" y="511"/>
                  <a:pt x="834" y="546"/>
                </a:cubicBezTo>
                <a:cubicBezTo>
                  <a:pt x="847" y="632"/>
                  <a:pt x="879" y="617"/>
                  <a:pt x="879" y="663"/>
                </a:cubicBezTo>
                <a:cubicBezTo>
                  <a:pt x="879" y="716"/>
                  <a:pt x="864" y="750"/>
                  <a:pt x="821" y="780"/>
                </a:cubicBezTo>
                <a:cubicBezTo>
                  <a:pt x="1046" y="892"/>
                  <a:pt x="1077" y="915"/>
                  <a:pt x="1077" y="1016"/>
                </a:cubicBezTo>
                <a:lnTo>
                  <a:pt x="1077" y="1222"/>
                </a:lnTo>
                <a:lnTo>
                  <a:pt x="1389" y="1222"/>
                </a:lnTo>
                <a:lnTo>
                  <a:pt x="1389" y="122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015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28600" y="261258"/>
            <a:ext cx="11734799" cy="521158"/>
          </a:xfrm>
        </p:spPr>
        <p:txBody>
          <a:bodyPr/>
          <a:lstStyle/>
          <a:p>
            <a:pPr algn="ctr"/>
            <a:r>
              <a:rPr lang="en-GB" sz="2400" dirty="0" err="1" smtClean="0">
                <a:solidFill>
                  <a:schemeClr val="bg1"/>
                </a:solidFill>
              </a:rPr>
              <a:t>Opsys</a:t>
            </a:r>
            <a:r>
              <a:rPr lang="en-GB" sz="2400" dirty="0" smtClean="0">
                <a:solidFill>
                  <a:schemeClr val="bg1"/>
                </a:solidFill>
              </a:rPr>
              <a:t> also played its role to increase Aid impact on citizens in a context of growing complexity</a:t>
            </a: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25" name="Freeform 24"/>
          <p:cNvSpPr/>
          <p:nvPr/>
        </p:nvSpPr>
        <p:spPr bwMode="gray">
          <a:xfrm flipH="1" flipV="1">
            <a:off x="6227612" y="4115425"/>
            <a:ext cx="4847238" cy="2513975"/>
          </a:xfrm>
          <a:custGeom>
            <a:avLst/>
            <a:gdLst>
              <a:gd name="connsiteX0" fmla="*/ 0 w 4094018"/>
              <a:gd name="connsiteY0" fmla="*/ 0 h 2774373"/>
              <a:gd name="connsiteX1" fmla="*/ 4083627 w 4094018"/>
              <a:gd name="connsiteY1" fmla="*/ 0 h 2774373"/>
              <a:gd name="connsiteX2" fmla="*/ 4094018 w 4094018"/>
              <a:gd name="connsiteY2" fmla="*/ 1091046 h 2774373"/>
              <a:gd name="connsiteX3" fmla="*/ 2452254 w 4094018"/>
              <a:gd name="connsiteY3" fmla="*/ 2774373 h 2774373"/>
              <a:gd name="connsiteX4" fmla="*/ 10391 w 4094018"/>
              <a:gd name="connsiteY4" fmla="*/ 2774373 h 2774373"/>
              <a:gd name="connsiteX5" fmla="*/ 0 w 4094018"/>
              <a:gd name="connsiteY5" fmla="*/ 0 h 2774373"/>
              <a:gd name="connsiteX0" fmla="*/ 0 w 4097482"/>
              <a:gd name="connsiteY0" fmla="*/ 0 h 2774373"/>
              <a:gd name="connsiteX1" fmla="*/ 4094018 w 4097482"/>
              <a:gd name="connsiteY1" fmla="*/ 0 h 2774373"/>
              <a:gd name="connsiteX2" fmla="*/ 4094018 w 4097482"/>
              <a:gd name="connsiteY2" fmla="*/ 1091046 h 2774373"/>
              <a:gd name="connsiteX3" fmla="*/ 2452254 w 4097482"/>
              <a:gd name="connsiteY3" fmla="*/ 2774373 h 2774373"/>
              <a:gd name="connsiteX4" fmla="*/ 10391 w 4097482"/>
              <a:gd name="connsiteY4" fmla="*/ 2774373 h 2774373"/>
              <a:gd name="connsiteX5" fmla="*/ 0 w 4097482"/>
              <a:gd name="connsiteY5" fmla="*/ 0 h 2774373"/>
              <a:gd name="connsiteX0" fmla="*/ 0 w 4097482"/>
              <a:gd name="connsiteY0" fmla="*/ 0 h 2774373"/>
              <a:gd name="connsiteX1" fmla="*/ 4094018 w 4097482"/>
              <a:gd name="connsiteY1" fmla="*/ 0 h 2774373"/>
              <a:gd name="connsiteX2" fmla="*/ 4097482 w 4097482"/>
              <a:gd name="connsiteY2" fmla="*/ 1046749 h 2774373"/>
              <a:gd name="connsiteX3" fmla="*/ 2452254 w 4097482"/>
              <a:gd name="connsiteY3" fmla="*/ 2774373 h 2774373"/>
              <a:gd name="connsiteX4" fmla="*/ 10391 w 4097482"/>
              <a:gd name="connsiteY4" fmla="*/ 2774373 h 2774373"/>
              <a:gd name="connsiteX5" fmla="*/ 0 w 4097482"/>
              <a:gd name="connsiteY5" fmla="*/ 0 h 2774373"/>
              <a:gd name="connsiteX0" fmla="*/ 0 w 4097482"/>
              <a:gd name="connsiteY0" fmla="*/ 0 h 2774374"/>
              <a:gd name="connsiteX1" fmla="*/ 4094018 w 4097482"/>
              <a:gd name="connsiteY1" fmla="*/ 0 h 2774374"/>
              <a:gd name="connsiteX2" fmla="*/ 4097482 w 4097482"/>
              <a:gd name="connsiteY2" fmla="*/ 1046749 h 2774374"/>
              <a:gd name="connsiteX3" fmla="*/ 2401294 w 4097482"/>
              <a:gd name="connsiteY3" fmla="*/ 2774374 h 2774374"/>
              <a:gd name="connsiteX4" fmla="*/ 10391 w 4097482"/>
              <a:gd name="connsiteY4" fmla="*/ 2774373 h 2774374"/>
              <a:gd name="connsiteX5" fmla="*/ 0 w 4097482"/>
              <a:gd name="connsiteY5" fmla="*/ 0 h 2774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97482" h="2774374">
                <a:moveTo>
                  <a:pt x="0" y="0"/>
                </a:moveTo>
                <a:lnTo>
                  <a:pt x="4094018" y="0"/>
                </a:lnTo>
                <a:cubicBezTo>
                  <a:pt x="4097482" y="363682"/>
                  <a:pt x="4094018" y="683067"/>
                  <a:pt x="4097482" y="1046749"/>
                </a:cubicBezTo>
                <a:lnTo>
                  <a:pt x="2401294" y="2774374"/>
                </a:lnTo>
                <a:lnTo>
                  <a:pt x="10391" y="2774373"/>
                </a:lnTo>
                <a:cubicBezTo>
                  <a:pt x="6927" y="1849582"/>
                  <a:pt x="3464" y="924791"/>
                  <a:pt x="0" y="0"/>
                </a:cubicBezTo>
                <a:close/>
              </a:path>
            </a:pathLst>
          </a:custGeom>
          <a:solidFill>
            <a:srgbClr val="FF2C79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68381" fontAlgn="auto" hangingPunct="0">
              <a:spcBef>
                <a:spcPts val="600"/>
              </a:spcBef>
              <a:spcAft>
                <a:spcPts val="0"/>
              </a:spcAft>
              <a:buClrTx/>
              <a:buSzTx/>
            </a:pPr>
            <a:endParaRPr lang="en-US" dirty="0">
              <a:solidFill>
                <a:srgbClr val="FFFFFF"/>
              </a:solidFill>
              <a:latin typeface="Verdana"/>
              <a:ea typeface="Verdana"/>
              <a:cs typeface="Verdana"/>
              <a:sym typeface="Arial"/>
            </a:endParaRPr>
          </a:p>
        </p:txBody>
      </p:sp>
      <p:sp>
        <p:nvSpPr>
          <p:cNvPr id="26" name="Freeform 25"/>
          <p:cNvSpPr/>
          <p:nvPr/>
        </p:nvSpPr>
        <p:spPr bwMode="gray">
          <a:xfrm flipV="1">
            <a:off x="1159354" y="4115425"/>
            <a:ext cx="4847238" cy="2513975"/>
          </a:xfrm>
          <a:custGeom>
            <a:avLst/>
            <a:gdLst>
              <a:gd name="connsiteX0" fmla="*/ 0 w 4094018"/>
              <a:gd name="connsiteY0" fmla="*/ 0 h 2774373"/>
              <a:gd name="connsiteX1" fmla="*/ 4083627 w 4094018"/>
              <a:gd name="connsiteY1" fmla="*/ 0 h 2774373"/>
              <a:gd name="connsiteX2" fmla="*/ 4094018 w 4094018"/>
              <a:gd name="connsiteY2" fmla="*/ 1091046 h 2774373"/>
              <a:gd name="connsiteX3" fmla="*/ 2452254 w 4094018"/>
              <a:gd name="connsiteY3" fmla="*/ 2774373 h 2774373"/>
              <a:gd name="connsiteX4" fmla="*/ 10391 w 4094018"/>
              <a:gd name="connsiteY4" fmla="*/ 2774373 h 2774373"/>
              <a:gd name="connsiteX5" fmla="*/ 0 w 4094018"/>
              <a:gd name="connsiteY5" fmla="*/ 0 h 2774373"/>
              <a:gd name="connsiteX0" fmla="*/ 0 w 4097482"/>
              <a:gd name="connsiteY0" fmla="*/ 0 h 2774373"/>
              <a:gd name="connsiteX1" fmla="*/ 4094018 w 4097482"/>
              <a:gd name="connsiteY1" fmla="*/ 0 h 2774373"/>
              <a:gd name="connsiteX2" fmla="*/ 4094018 w 4097482"/>
              <a:gd name="connsiteY2" fmla="*/ 1091046 h 2774373"/>
              <a:gd name="connsiteX3" fmla="*/ 2452254 w 4097482"/>
              <a:gd name="connsiteY3" fmla="*/ 2774373 h 2774373"/>
              <a:gd name="connsiteX4" fmla="*/ 10391 w 4097482"/>
              <a:gd name="connsiteY4" fmla="*/ 2774373 h 2774373"/>
              <a:gd name="connsiteX5" fmla="*/ 0 w 4097482"/>
              <a:gd name="connsiteY5" fmla="*/ 0 h 2774373"/>
              <a:gd name="connsiteX0" fmla="*/ 0 w 4097482"/>
              <a:gd name="connsiteY0" fmla="*/ 0 h 2774373"/>
              <a:gd name="connsiteX1" fmla="*/ 4094018 w 4097482"/>
              <a:gd name="connsiteY1" fmla="*/ 0 h 2774373"/>
              <a:gd name="connsiteX2" fmla="*/ 4097482 w 4097482"/>
              <a:gd name="connsiteY2" fmla="*/ 1046749 h 2774373"/>
              <a:gd name="connsiteX3" fmla="*/ 2452254 w 4097482"/>
              <a:gd name="connsiteY3" fmla="*/ 2774373 h 2774373"/>
              <a:gd name="connsiteX4" fmla="*/ 10391 w 4097482"/>
              <a:gd name="connsiteY4" fmla="*/ 2774373 h 2774373"/>
              <a:gd name="connsiteX5" fmla="*/ 0 w 4097482"/>
              <a:gd name="connsiteY5" fmla="*/ 0 h 2774373"/>
              <a:gd name="connsiteX0" fmla="*/ 0 w 4097482"/>
              <a:gd name="connsiteY0" fmla="*/ 0 h 2774374"/>
              <a:gd name="connsiteX1" fmla="*/ 4094018 w 4097482"/>
              <a:gd name="connsiteY1" fmla="*/ 0 h 2774374"/>
              <a:gd name="connsiteX2" fmla="*/ 4097482 w 4097482"/>
              <a:gd name="connsiteY2" fmla="*/ 1046749 h 2774374"/>
              <a:gd name="connsiteX3" fmla="*/ 2401294 w 4097482"/>
              <a:gd name="connsiteY3" fmla="*/ 2774374 h 2774374"/>
              <a:gd name="connsiteX4" fmla="*/ 10391 w 4097482"/>
              <a:gd name="connsiteY4" fmla="*/ 2774373 h 2774374"/>
              <a:gd name="connsiteX5" fmla="*/ 0 w 4097482"/>
              <a:gd name="connsiteY5" fmla="*/ 0 h 2774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97482" h="2774374">
                <a:moveTo>
                  <a:pt x="0" y="0"/>
                </a:moveTo>
                <a:lnTo>
                  <a:pt x="4094018" y="0"/>
                </a:lnTo>
                <a:cubicBezTo>
                  <a:pt x="4097482" y="363682"/>
                  <a:pt x="4094018" y="683067"/>
                  <a:pt x="4097482" y="1046749"/>
                </a:cubicBezTo>
                <a:lnTo>
                  <a:pt x="2401294" y="2774374"/>
                </a:lnTo>
                <a:lnTo>
                  <a:pt x="10391" y="2774373"/>
                </a:lnTo>
                <a:cubicBezTo>
                  <a:pt x="6927" y="1849582"/>
                  <a:pt x="3464" y="924791"/>
                  <a:pt x="0" y="0"/>
                </a:cubicBezTo>
                <a:close/>
              </a:path>
            </a:pathLst>
          </a:custGeom>
          <a:solidFill>
            <a:srgbClr val="ABC324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68381" fontAlgn="auto" hangingPunct="0">
              <a:spcBef>
                <a:spcPts val="600"/>
              </a:spcBef>
              <a:spcAft>
                <a:spcPts val="0"/>
              </a:spcAft>
              <a:buClrTx/>
              <a:buSzTx/>
            </a:pPr>
            <a:endParaRPr lang="en-US" dirty="0">
              <a:solidFill>
                <a:srgbClr val="FFFFFF"/>
              </a:solidFill>
              <a:latin typeface="Verdana"/>
              <a:ea typeface="Verdana"/>
              <a:cs typeface="Verdana"/>
              <a:sym typeface="Arial"/>
            </a:endParaRPr>
          </a:p>
        </p:txBody>
      </p:sp>
      <p:sp>
        <p:nvSpPr>
          <p:cNvPr id="27" name="Freeform 26"/>
          <p:cNvSpPr/>
          <p:nvPr/>
        </p:nvSpPr>
        <p:spPr bwMode="gray">
          <a:xfrm flipH="1">
            <a:off x="6227612" y="1168778"/>
            <a:ext cx="4847238" cy="2720418"/>
          </a:xfrm>
          <a:custGeom>
            <a:avLst/>
            <a:gdLst>
              <a:gd name="connsiteX0" fmla="*/ 0 w 4094018"/>
              <a:gd name="connsiteY0" fmla="*/ 0 h 2774373"/>
              <a:gd name="connsiteX1" fmla="*/ 4083627 w 4094018"/>
              <a:gd name="connsiteY1" fmla="*/ 0 h 2774373"/>
              <a:gd name="connsiteX2" fmla="*/ 4094018 w 4094018"/>
              <a:gd name="connsiteY2" fmla="*/ 1091046 h 2774373"/>
              <a:gd name="connsiteX3" fmla="*/ 2452254 w 4094018"/>
              <a:gd name="connsiteY3" fmla="*/ 2774373 h 2774373"/>
              <a:gd name="connsiteX4" fmla="*/ 10391 w 4094018"/>
              <a:gd name="connsiteY4" fmla="*/ 2774373 h 2774373"/>
              <a:gd name="connsiteX5" fmla="*/ 0 w 4094018"/>
              <a:gd name="connsiteY5" fmla="*/ 0 h 2774373"/>
              <a:gd name="connsiteX0" fmla="*/ 0 w 4097482"/>
              <a:gd name="connsiteY0" fmla="*/ 0 h 2774373"/>
              <a:gd name="connsiteX1" fmla="*/ 4094018 w 4097482"/>
              <a:gd name="connsiteY1" fmla="*/ 0 h 2774373"/>
              <a:gd name="connsiteX2" fmla="*/ 4094018 w 4097482"/>
              <a:gd name="connsiteY2" fmla="*/ 1091046 h 2774373"/>
              <a:gd name="connsiteX3" fmla="*/ 2452254 w 4097482"/>
              <a:gd name="connsiteY3" fmla="*/ 2774373 h 2774373"/>
              <a:gd name="connsiteX4" fmla="*/ 10391 w 4097482"/>
              <a:gd name="connsiteY4" fmla="*/ 2774373 h 2774373"/>
              <a:gd name="connsiteX5" fmla="*/ 0 w 4097482"/>
              <a:gd name="connsiteY5" fmla="*/ 0 h 2774373"/>
              <a:gd name="connsiteX0" fmla="*/ 0 w 4097482"/>
              <a:gd name="connsiteY0" fmla="*/ 0 h 2774373"/>
              <a:gd name="connsiteX1" fmla="*/ 4094018 w 4097482"/>
              <a:gd name="connsiteY1" fmla="*/ 0 h 2774373"/>
              <a:gd name="connsiteX2" fmla="*/ 4097482 w 4097482"/>
              <a:gd name="connsiteY2" fmla="*/ 1046749 h 2774373"/>
              <a:gd name="connsiteX3" fmla="*/ 2452254 w 4097482"/>
              <a:gd name="connsiteY3" fmla="*/ 2774373 h 2774373"/>
              <a:gd name="connsiteX4" fmla="*/ 10391 w 4097482"/>
              <a:gd name="connsiteY4" fmla="*/ 2774373 h 2774373"/>
              <a:gd name="connsiteX5" fmla="*/ 0 w 4097482"/>
              <a:gd name="connsiteY5" fmla="*/ 0 h 2774373"/>
              <a:gd name="connsiteX0" fmla="*/ 0 w 4097482"/>
              <a:gd name="connsiteY0" fmla="*/ 0 h 2774374"/>
              <a:gd name="connsiteX1" fmla="*/ 4094018 w 4097482"/>
              <a:gd name="connsiteY1" fmla="*/ 0 h 2774374"/>
              <a:gd name="connsiteX2" fmla="*/ 4097482 w 4097482"/>
              <a:gd name="connsiteY2" fmla="*/ 1046749 h 2774374"/>
              <a:gd name="connsiteX3" fmla="*/ 2401294 w 4097482"/>
              <a:gd name="connsiteY3" fmla="*/ 2774374 h 2774374"/>
              <a:gd name="connsiteX4" fmla="*/ 10391 w 4097482"/>
              <a:gd name="connsiteY4" fmla="*/ 2774373 h 2774374"/>
              <a:gd name="connsiteX5" fmla="*/ 0 w 4097482"/>
              <a:gd name="connsiteY5" fmla="*/ 0 h 2774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97482" h="2774374">
                <a:moveTo>
                  <a:pt x="0" y="0"/>
                </a:moveTo>
                <a:lnTo>
                  <a:pt x="4094018" y="0"/>
                </a:lnTo>
                <a:cubicBezTo>
                  <a:pt x="4097482" y="363682"/>
                  <a:pt x="4094018" y="683067"/>
                  <a:pt x="4097482" y="1046749"/>
                </a:cubicBezTo>
                <a:lnTo>
                  <a:pt x="2401294" y="2774374"/>
                </a:lnTo>
                <a:lnTo>
                  <a:pt x="10391" y="2774373"/>
                </a:lnTo>
                <a:cubicBezTo>
                  <a:pt x="6927" y="1849582"/>
                  <a:pt x="3464" y="924791"/>
                  <a:pt x="0" y="0"/>
                </a:cubicBezTo>
                <a:close/>
              </a:path>
            </a:pathLst>
          </a:custGeom>
          <a:solidFill>
            <a:srgbClr val="00ADFD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68381" fontAlgn="auto" hangingPunct="0">
              <a:spcBef>
                <a:spcPts val="600"/>
              </a:spcBef>
              <a:spcAft>
                <a:spcPts val="0"/>
              </a:spcAft>
              <a:buClrTx/>
              <a:buSzTx/>
            </a:pPr>
            <a:endParaRPr lang="en-US" dirty="0">
              <a:solidFill>
                <a:srgbClr val="FFFFFF"/>
              </a:solidFill>
              <a:latin typeface="Verdana"/>
              <a:ea typeface="Verdana"/>
              <a:cs typeface="Verdana"/>
              <a:sym typeface="Arial"/>
            </a:endParaRPr>
          </a:p>
        </p:txBody>
      </p:sp>
      <p:sp>
        <p:nvSpPr>
          <p:cNvPr id="28" name="Freeform 27"/>
          <p:cNvSpPr/>
          <p:nvPr/>
        </p:nvSpPr>
        <p:spPr bwMode="gray">
          <a:xfrm>
            <a:off x="1198412" y="1207873"/>
            <a:ext cx="4847238" cy="2720418"/>
          </a:xfrm>
          <a:custGeom>
            <a:avLst/>
            <a:gdLst>
              <a:gd name="connsiteX0" fmla="*/ 0 w 4094018"/>
              <a:gd name="connsiteY0" fmla="*/ 0 h 2774373"/>
              <a:gd name="connsiteX1" fmla="*/ 4083627 w 4094018"/>
              <a:gd name="connsiteY1" fmla="*/ 0 h 2774373"/>
              <a:gd name="connsiteX2" fmla="*/ 4094018 w 4094018"/>
              <a:gd name="connsiteY2" fmla="*/ 1091046 h 2774373"/>
              <a:gd name="connsiteX3" fmla="*/ 2452254 w 4094018"/>
              <a:gd name="connsiteY3" fmla="*/ 2774373 h 2774373"/>
              <a:gd name="connsiteX4" fmla="*/ 10391 w 4094018"/>
              <a:gd name="connsiteY4" fmla="*/ 2774373 h 2774373"/>
              <a:gd name="connsiteX5" fmla="*/ 0 w 4094018"/>
              <a:gd name="connsiteY5" fmla="*/ 0 h 2774373"/>
              <a:gd name="connsiteX0" fmla="*/ 0 w 4097482"/>
              <a:gd name="connsiteY0" fmla="*/ 0 h 2774373"/>
              <a:gd name="connsiteX1" fmla="*/ 4094018 w 4097482"/>
              <a:gd name="connsiteY1" fmla="*/ 0 h 2774373"/>
              <a:gd name="connsiteX2" fmla="*/ 4094018 w 4097482"/>
              <a:gd name="connsiteY2" fmla="*/ 1091046 h 2774373"/>
              <a:gd name="connsiteX3" fmla="*/ 2452254 w 4097482"/>
              <a:gd name="connsiteY3" fmla="*/ 2774373 h 2774373"/>
              <a:gd name="connsiteX4" fmla="*/ 10391 w 4097482"/>
              <a:gd name="connsiteY4" fmla="*/ 2774373 h 2774373"/>
              <a:gd name="connsiteX5" fmla="*/ 0 w 4097482"/>
              <a:gd name="connsiteY5" fmla="*/ 0 h 2774373"/>
              <a:gd name="connsiteX0" fmla="*/ 0 w 4097482"/>
              <a:gd name="connsiteY0" fmla="*/ 0 h 2774373"/>
              <a:gd name="connsiteX1" fmla="*/ 4094018 w 4097482"/>
              <a:gd name="connsiteY1" fmla="*/ 0 h 2774373"/>
              <a:gd name="connsiteX2" fmla="*/ 4097482 w 4097482"/>
              <a:gd name="connsiteY2" fmla="*/ 1046749 h 2774373"/>
              <a:gd name="connsiteX3" fmla="*/ 2452254 w 4097482"/>
              <a:gd name="connsiteY3" fmla="*/ 2774373 h 2774373"/>
              <a:gd name="connsiteX4" fmla="*/ 10391 w 4097482"/>
              <a:gd name="connsiteY4" fmla="*/ 2774373 h 2774373"/>
              <a:gd name="connsiteX5" fmla="*/ 0 w 4097482"/>
              <a:gd name="connsiteY5" fmla="*/ 0 h 2774373"/>
              <a:gd name="connsiteX0" fmla="*/ 0 w 4097482"/>
              <a:gd name="connsiteY0" fmla="*/ 0 h 2774374"/>
              <a:gd name="connsiteX1" fmla="*/ 4094018 w 4097482"/>
              <a:gd name="connsiteY1" fmla="*/ 0 h 2774374"/>
              <a:gd name="connsiteX2" fmla="*/ 4097482 w 4097482"/>
              <a:gd name="connsiteY2" fmla="*/ 1046749 h 2774374"/>
              <a:gd name="connsiteX3" fmla="*/ 2401294 w 4097482"/>
              <a:gd name="connsiteY3" fmla="*/ 2774374 h 2774374"/>
              <a:gd name="connsiteX4" fmla="*/ 10391 w 4097482"/>
              <a:gd name="connsiteY4" fmla="*/ 2774373 h 2774374"/>
              <a:gd name="connsiteX5" fmla="*/ 0 w 4097482"/>
              <a:gd name="connsiteY5" fmla="*/ 0 h 2774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97482" h="2774374">
                <a:moveTo>
                  <a:pt x="0" y="0"/>
                </a:moveTo>
                <a:lnTo>
                  <a:pt x="4094018" y="0"/>
                </a:lnTo>
                <a:cubicBezTo>
                  <a:pt x="4097482" y="363682"/>
                  <a:pt x="4094018" y="683067"/>
                  <a:pt x="4097482" y="1046749"/>
                </a:cubicBezTo>
                <a:lnTo>
                  <a:pt x="2401294" y="2774374"/>
                </a:lnTo>
                <a:lnTo>
                  <a:pt x="10391" y="2774373"/>
                </a:lnTo>
                <a:cubicBezTo>
                  <a:pt x="6927" y="1849582"/>
                  <a:pt x="3464" y="924791"/>
                  <a:pt x="0" y="0"/>
                </a:cubicBezTo>
                <a:close/>
              </a:path>
            </a:pathLst>
          </a:custGeom>
          <a:solidFill>
            <a:srgbClr val="F92138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68381" fontAlgn="auto" hangingPunct="0">
              <a:spcBef>
                <a:spcPts val="600"/>
              </a:spcBef>
              <a:spcAft>
                <a:spcPts val="0"/>
              </a:spcAft>
              <a:buClrTx/>
              <a:buSzTx/>
            </a:pPr>
            <a:endParaRPr lang="en-US" dirty="0">
              <a:solidFill>
                <a:srgbClr val="FFFFFF"/>
              </a:solidFill>
              <a:latin typeface="Verdana"/>
              <a:ea typeface="Verdana"/>
              <a:cs typeface="Verdana"/>
              <a:sym typeface="Arial"/>
            </a:endParaRPr>
          </a:p>
        </p:txBody>
      </p:sp>
      <p:sp>
        <p:nvSpPr>
          <p:cNvPr id="29" name="Oval 16"/>
          <p:cNvSpPr>
            <a:spLocks noChangeArrowheads="1"/>
          </p:cNvSpPr>
          <p:nvPr/>
        </p:nvSpPr>
        <p:spPr bwMode="gray">
          <a:xfrm>
            <a:off x="4119365" y="2412051"/>
            <a:ext cx="4023614" cy="3265124"/>
          </a:xfrm>
          <a:prstGeom prst="diamond">
            <a:avLst/>
          </a:prstGeom>
          <a:solidFill>
            <a:srgbClr val="FFC2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67795" fontAlgn="auto" hangingPunct="0">
              <a:spcBef>
                <a:spcPts val="600"/>
              </a:spcBef>
              <a:spcAft>
                <a:spcPts val="0"/>
              </a:spcAft>
              <a:buClrTx/>
              <a:buSzTx/>
            </a:pPr>
            <a:endParaRPr lang="en-US" dirty="0">
              <a:solidFill>
                <a:srgbClr val="000000"/>
              </a:solidFill>
              <a:latin typeface="Verdana"/>
              <a:ea typeface="Verdana"/>
              <a:cs typeface="Verdana"/>
              <a:sym typeface="Arial"/>
            </a:endParaRPr>
          </a:p>
          <a:p>
            <a:pPr algn="ctr" defTabSz="967795" fontAlgn="auto" hangingPunct="0">
              <a:spcBef>
                <a:spcPts val="600"/>
              </a:spcBef>
              <a:spcAft>
                <a:spcPts val="0"/>
              </a:spcAft>
              <a:buClrTx/>
              <a:buSzTx/>
            </a:pPr>
            <a:endParaRPr lang="en-US" dirty="0">
              <a:solidFill>
                <a:srgbClr val="000000"/>
              </a:solidFill>
              <a:latin typeface="Verdana"/>
              <a:ea typeface="Verdana"/>
              <a:cs typeface="Verdana"/>
              <a:sym typeface="Arial"/>
            </a:endParaRPr>
          </a:p>
        </p:txBody>
      </p:sp>
      <p:sp>
        <p:nvSpPr>
          <p:cNvPr id="30" name="TextBox 28"/>
          <p:cNvSpPr txBox="1">
            <a:spLocks noChangeArrowheads="1"/>
          </p:cNvSpPr>
          <p:nvPr/>
        </p:nvSpPr>
        <p:spPr bwMode="gray">
          <a:xfrm>
            <a:off x="4856924" y="2794948"/>
            <a:ext cx="2488106" cy="58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79" tIns="45119" rIns="90079" bIns="45119" anchor="ctr"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u="sng" dirty="0" smtClean="0">
                <a:solidFill>
                  <a:srgbClr val="000000"/>
                </a:solidFill>
              </a:rPr>
              <a:t>Increased Effectiveness</a:t>
            </a:r>
            <a:endParaRPr lang="en-GB" sz="1600" b="1" u="sng" dirty="0" smtClean="0">
              <a:solidFill>
                <a:srgbClr val="000000"/>
              </a:solidFill>
            </a:endParaRPr>
          </a:p>
        </p:txBody>
      </p:sp>
      <p:sp>
        <p:nvSpPr>
          <p:cNvPr id="31" name="TextBox 20"/>
          <p:cNvSpPr txBox="1">
            <a:spLocks noChangeArrowheads="1"/>
          </p:cNvSpPr>
          <p:nvPr/>
        </p:nvSpPr>
        <p:spPr bwMode="gray">
          <a:xfrm>
            <a:off x="304800" y="1335344"/>
            <a:ext cx="4847238" cy="33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79" tIns="45119" rIns="90079" bIns="45119" anchor="ctr"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68063"/>
            <a:r>
              <a:rPr lang="en-GB" sz="1600" b="1" u="sng" dirty="0" smtClean="0">
                <a:solidFill>
                  <a:srgbClr val="FFFFFF"/>
                </a:solidFill>
              </a:rPr>
              <a:t>Increased Productivity</a:t>
            </a:r>
          </a:p>
        </p:txBody>
      </p:sp>
      <p:sp>
        <p:nvSpPr>
          <p:cNvPr id="32" name="TextBox 21"/>
          <p:cNvSpPr txBox="1">
            <a:spLocks noChangeArrowheads="1"/>
          </p:cNvSpPr>
          <p:nvPr/>
        </p:nvSpPr>
        <p:spPr bwMode="gray">
          <a:xfrm>
            <a:off x="6227612" y="1335344"/>
            <a:ext cx="4847238" cy="33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79" tIns="45119" rIns="90079" bIns="45119" anchor="ctr"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68063"/>
            <a:r>
              <a:rPr lang="en-US" sz="1600" b="1" u="sng" dirty="0" smtClean="0">
                <a:solidFill>
                  <a:srgbClr val="FFFFFF"/>
                </a:solidFill>
              </a:rPr>
              <a:t>Improved Transparency</a:t>
            </a:r>
          </a:p>
        </p:txBody>
      </p:sp>
      <p:sp>
        <p:nvSpPr>
          <p:cNvPr id="33" name="TextBox 24"/>
          <p:cNvSpPr txBox="1">
            <a:spLocks noChangeArrowheads="1"/>
          </p:cNvSpPr>
          <p:nvPr/>
        </p:nvSpPr>
        <p:spPr bwMode="gray">
          <a:xfrm>
            <a:off x="7900991" y="4233107"/>
            <a:ext cx="3134424" cy="33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79" tIns="45119" rIns="90079" bIns="45119" anchor="ctr"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68063"/>
            <a:r>
              <a:rPr lang="en-GB" sz="1600" b="1" u="sng" dirty="0" smtClean="0">
                <a:solidFill>
                  <a:srgbClr val="FFFFFF"/>
                </a:solidFill>
              </a:rPr>
              <a:t>Improved Collaboration</a:t>
            </a:r>
          </a:p>
        </p:txBody>
      </p:sp>
      <p:sp>
        <p:nvSpPr>
          <p:cNvPr id="34" name="TextBox 30"/>
          <p:cNvSpPr txBox="1">
            <a:spLocks noChangeArrowheads="1"/>
          </p:cNvSpPr>
          <p:nvPr/>
        </p:nvSpPr>
        <p:spPr bwMode="gray">
          <a:xfrm>
            <a:off x="1159354" y="4233107"/>
            <a:ext cx="2878368" cy="33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79" tIns="45119" rIns="90079" bIns="45119" anchor="ctr"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b="1" u="sng" dirty="0" smtClean="0">
                <a:solidFill>
                  <a:schemeClr val="tx2"/>
                </a:solidFill>
              </a:rPr>
              <a:t>Knowledge Sharing</a:t>
            </a:r>
          </a:p>
        </p:txBody>
      </p:sp>
      <p:sp>
        <p:nvSpPr>
          <p:cNvPr id="35" name="Source"/>
          <p:cNvSpPr>
            <a:spLocks noGrp="1"/>
          </p:cNvSpPr>
          <p:nvPr/>
        </p:nvSpPr>
        <p:spPr bwMode="auto">
          <a:xfrm>
            <a:off x="7257599" y="1870748"/>
            <a:ext cx="3806333" cy="117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799" tIns="46799" rIns="46799" bIns="4679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 err="1" smtClean="0">
                <a:solidFill>
                  <a:schemeClr val="bg1"/>
                </a:solidFill>
                <a:latin typeface="+mn-lt"/>
              </a:rPr>
              <a:t>Addressed</a:t>
            </a:r>
            <a:r>
              <a:rPr lang="fr-BE" dirty="0" smtClean="0">
                <a:solidFill>
                  <a:schemeClr val="bg1"/>
                </a:solidFill>
                <a:latin typeface="+mn-lt"/>
              </a:rPr>
              <a:t> communication gaps</a:t>
            </a:r>
            <a:endParaRPr lang="en-GB" dirty="0" smtClean="0">
              <a:solidFill>
                <a:schemeClr val="bg1"/>
              </a:solidFill>
              <a:latin typeface="+mn-lt"/>
            </a:endParaRPr>
          </a:p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Improve Aid </a:t>
            </a:r>
            <a:r>
              <a:rPr lang="en-GB" dirty="0">
                <a:solidFill>
                  <a:schemeClr val="bg1"/>
                </a:solidFill>
                <a:latin typeface="+mn-lt"/>
              </a:rPr>
              <a:t>Transparency </a:t>
            </a:r>
            <a:r>
              <a:rPr lang="en-GB" dirty="0" smtClean="0">
                <a:solidFill>
                  <a:schemeClr val="bg1"/>
                </a:solidFill>
                <a:latin typeface="+mn-lt"/>
              </a:rPr>
              <a:t>rating (current ranking</a:t>
            </a:r>
            <a:r>
              <a:rPr lang="en-GB" dirty="0">
                <a:solidFill>
                  <a:schemeClr val="bg1"/>
                </a:solidFill>
                <a:latin typeface="+mn-lt"/>
              </a:rPr>
              <a:t>: #</a:t>
            </a:r>
            <a:r>
              <a:rPr lang="en-GB" dirty="0" smtClean="0">
                <a:solidFill>
                  <a:schemeClr val="bg1"/>
                </a:solidFill>
                <a:latin typeface="+mn-lt"/>
              </a:rPr>
              <a:t>15) with missing data, reporting frequency</a:t>
            </a:r>
          </a:p>
        </p:txBody>
      </p:sp>
      <p:sp>
        <p:nvSpPr>
          <p:cNvPr id="36" name="Source"/>
          <p:cNvSpPr>
            <a:spLocks noGrp="1"/>
          </p:cNvSpPr>
          <p:nvPr/>
        </p:nvSpPr>
        <p:spPr bwMode="auto">
          <a:xfrm>
            <a:off x="1433168" y="4695202"/>
            <a:ext cx="3804015" cy="1621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799" tIns="46799" rIns="46799" bIns="4679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+mn-lt"/>
              </a:rPr>
              <a:t>Better projects and programmes</a:t>
            </a:r>
          </a:p>
          <a:p>
            <a:r>
              <a:rPr lang="en-GB" dirty="0">
                <a:latin typeface="+mn-lt"/>
              </a:rPr>
              <a:t>Faster </a:t>
            </a:r>
            <a:r>
              <a:rPr lang="en-GB" dirty="0" smtClean="0">
                <a:latin typeface="+mn-lt"/>
              </a:rPr>
              <a:t>problem-solving</a:t>
            </a:r>
          </a:p>
          <a:p>
            <a:r>
              <a:rPr lang="fr-BE" dirty="0" err="1" smtClean="0">
                <a:latin typeface="+mn-lt"/>
              </a:rPr>
              <a:t>Increased</a:t>
            </a:r>
            <a:r>
              <a:rPr lang="fr-BE" dirty="0" smtClean="0">
                <a:latin typeface="+mn-lt"/>
              </a:rPr>
              <a:t> </a:t>
            </a:r>
            <a:r>
              <a:rPr lang="fr-BE" dirty="0" err="1" smtClean="0">
                <a:latin typeface="+mn-lt"/>
              </a:rPr>
              <a:t>internal</a:t>
            </a:r>
            <a:r>
              <a:rPr lang="fr-BE" dirty="0" smtClean="0">
                <a:latin typeface="+mn-lt"/>
              </a:rPr>
              <a:t> collaboration</a:t>
            </a:r>
            <a:endParaRPr lang="en-GB" dirty="0">
              <a:latin typeface="+mn-lt"/>
            </a:endParaRPr>
          </a:p>
          <a:p>
            <a:r>
              <a:rPr lang="en-GB" dirty="0" smtClean="0">
                <a:latin typeface="+mn-lt"/>
              </a:rPr>
              <a:t>Best </a:t>
            </a:r>
            <a:r>
              <a:rPr lang="en-GB" dirty="0">
                <a:latin typeface="+mn-lt"/>
              </a:rPr>
              <a:t>implementing partners and experts</a:t>
            </a:r>
          </a:p>
        </p:txBody>
      </p:sp>
      <p:sp>
        <p:nvSpPr>
          <p:cNvPr id="37" name="Source"/>
          <p:cNvSpPr>
            <a:spLocks noGrp="1"/>
          </p:cNvSpPr>
          <p:nvPr/>
        </p:nvSpPr>
        <p:spPr bwMode="auto">
          <a:xfrm>
            <a:off x="7454037" y="4732142"/>
            <a:ext cx="3656856" cy="1768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799" tIns="46799" rIns="46799" bIns="4679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>
              <a:buClr>
                <a:schemeClr val="tx2"/>
              </a:buClr>
            </a:pPr>
            <a:r>
              <a:rPr lang="en-GB" dirty="0">
                <a:solidFill>
                  <a:schemeClr val="bg1"/>
                </a:solidFill>
                <a:latin typeface="+mn-lt"/>
              </a:rPr>
              <a:t>Increased </a:t>
            </a:r>
            <a:r>
              <a:rPr lang="en-GB" dirty="0" smtClean="0">
                <a:solidFill>
                  <a:schemeClr val="bg1"/>
                </a:solidFill>
                <a:latin typeface="+mn-lt"/>
              </a:rPr>
              <a:t>external collaboration </a:t>
            </a:r>
            <a:r>
              <a:rPr lang="en-GB" dirty="0">
                <a:solidFill>
                  <a:schemeClr val="bg1"/>
                </a:solidFill>
                <a:latin typeface="+mn-lt"/>
              </a:rPr>
              <a:t>with the </a:t>
            </a:r>
            <a:r>
              <a:rPr lang="en-GB" dirty="0" smtClean="0">
                <a:solidFill>
                  <a:schemeClr val="bg1"/>
                </a:solidFill>
                <a:latin typeface="+mn-lt"/>
              </a:rPr>
              <a:t>ecosystem:</a:t>
            </a:r>
          </a:p>
          <a:p>
            <a:pPr marL="182563" indent="-182563"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- EU dimension: EC DGs, EU Member States, </a:t>
            </a:r>
          </a:p>
          <a:p>
            <a:pPr marL="182563" indent="-182563"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- Partner gov. other donors </a:t>
            </a:r>
            <a:r>
              <a:rPr lang="en-GB" dirty="0">
                <a:solidFill>
                  <a:schemeClr val="bg1"/>
                </a:solidFill>
                <a:latin typeface="+mn-lt"/>
              </a:rPr>
              <a:t>and implementing </a:t>
            </a:r>
            <a:r>
              <a:rPr lang="en-GB" dirty="0" smtClean="0">
                <a:solidFill>
                  <a:schemeClr val="bg1"/>
                </a:solidFill>
                <a:latin typeface="+mn-lt"/>
              </a:rPr>
              <a:t>partners</a:t>
            </a:r>
            <a:endParaRPr lang="en-GB" altLang="ja-JP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8" name="Source"/>
          <p:cNvSpPr>
            <a:spLocks noGrp="1"/>
          </p:cNvSpPr>
          <p:nvPr/>
        </p:nvSpPr>
        <p:spPr bwMode="auto">
          <a:xfrm>
            <a:off x="1403413" y="1914228"/>
            <a:ext cx="3444425" cy="1401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798" tIns="46798" rIns="46798" bIns="4679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Meet an increased </a:t>
            </a:r>
            <a:r>
              <a:rPr lang="en-GB" dirty="0">
                <a:solidFill>
                  <a:schemeClr val="bg1"/>
                </a:solidFill>
                <a:latin typeface="+mn-lt"/>
              </a:rPr>
              <a:t>demand for aid (poverty in conflict zones, migrants, etc</a:t>
            </a:r>
            <a:r>
              <a:rPr lang="en-GB" dirty="0" smtClean="0">
                <a:solidFill>
                  <a:schemeClr val="bg1"/>
                </a:solidFill>
                <a:latin typeface="+mn-lt"/>
              </a:rPr>
              <a:t>.)…</a:t>
            </a:r>
          </a:p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…while operating with reduced staff numbers</a:t>
            </a:r>
            <a:endParaRPr lang="en-GB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9" name="Source"/>
          <p:cNvSpPr>
            <a:spLocks noGrp="1"/>
          </p:cNvSpPr>
          <p:nvPr/>
        </p:nvSpPr>
        <p:spPr bwMode="auto">
          <a:xfrm>
            <a:off x="4787081" y="3364012"/>
            <a:ext cx="2699604" cy="1787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799" tIns="46799" rIns="46799" bIns="4679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295"/>
              </a:spcBef>
            </a:pPr>
            <a:r>
              <a:rPr lang="en-GB" sz="1500" dirty="0">
                <a:latin typeface="+mn-lt"/>
              </a:rPr>
              <a:t>Strategic focus on </a:t>
            </a:r>
            <a:r>
              <a:rPr lang="en-GB" sz="1500" dirty="0" smtClean="0">
                <a:latin typeface="+mn-lt"/>
              </a:rPr>
              <a:t>results and performance </a:t>
            </a:r>
            <a:endParaRPr lang="en-GB" sz="1500" dirty="0">
              <a:latin typeface="+mn-lt"/>
            </a:endParaRPr>
          </a:p>
          <a:p>
            <a:pPr algn="ctr">
              <a:spcBef>
                <a:spcPts val="295"/>
              </a:spcBef>
            </a:pPr>
            <a:r>
              <a:rPr lang="en-GB" sz="1500" dirty="0">
                <a:latin typeface="+mn-lt"/>
              </a:rPr>
              <a:t>Improved </a:t>
            </a:r>
            <a:r>
              <a:rPr lang="en-GB" sz="1500" dirty="0" smtClean="0">
                <a:latin typeface="+mn-lt"/>
              </a:rPr>
              <a:t>decision making &amp; monitoring</a:t>
            </a:r>
            <a:endParaRPr lang="en-GB" sz="1500" dirty="0">
              <a:latin typeface="+mn-lt"/>
            </a:endParaRPr>
          </a:p>
          <a:p>
            <a:pPr algn="ctr">
              <a:spcBef>
                <a:spcPts val="295"/>
              </a:spcBef>
            </a:pPr>
            <a:r>
              <a:rPr lang="en-GB" sz="1500" dirty="0">
                <a:latin typeface="+mn-lt"/>
              </a:rPr>
              <a:t>Maximization of implementing partners’ </a:t>
            </a:r>
            <a:r>
              <a:rPr lang="en-GB" sz="1500" dirty="0" smtClean="0">
                <a:latin typeface="+mn-lt"/>
              </a:rPr>
              <a:t> contributions</a:t>
            </a:r>
            <a:endParaRPr lang="en-GB" sz="15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890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ROMO-Opsy on Laptop &amp; iPhone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94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Arriving on site for his visit, Etienne logs into </a:t>
            </a:r>
            <a:r>
              <a:rPr lang="en-GB" sz="2800" dirty="0" err="1" smtClean="0">
                <a:solidFill>
                  <a:schemeClr val="bg1"/>
                </a:solidFill>
                <a:latin typeface="+mj-lt"/>
              </a:rPr>
              <a:t>Opsys</a:t>
            </a: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 from his smart phone and checks his conversations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52278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310" y="0"/>
            <a:ext cx="39653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661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971800" y="2272605"/>
            <a:ext cx="63246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starts drafting terms of reference based on a template available in the task manager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8844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2. Accessing Terms of Reference on Knowledge Hub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852" r="31819" b="14814"/>
          <a:stretch/>
        </p:blipFill>
        <p:spPr>
          <a:xfrm>
            <a:off x="2209800" y="152400"/>
            <a:ext cx="7467600" cy="6490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545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971800" y="1524000"/>
            <a:ext cx="6324600" cy="2811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resumes the purpose of his visit</a:t>
            </a:r>
          </a:p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He observes progress towards expected results and takes pictures and uploads them to the Project into </a:t>
            </a:r>
            <a:r>
              <a:rPr lang="en-GB" sz="2800" dirty="0" err="1" smtClean="0">
                <a:solidFill>
                  <a:schemeClr val="bg1"/>
                </a:solidFill>
                <a:latin typeface="+mj-lt"/>
              </a:rPr>
              <a:t>Opsys</a:t>
            </a: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 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63632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528" y="65316"/>
            <a:ext cx="10058400" cy="6706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206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4. Uploading Pictures on Opsys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847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has now finished his day and logs off before going back home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81808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9</Words>
  <Application>Microsoft Office PowerPoint</Application>
  <PresentationFormat>Widescreen</PresentationFormat>
  <Paragraphs>33</Paragraphs>
  <Slides>14</Slides>
  <Notes>0</Notes>
  <HiddenSlides>0</HiddenSlides>
  <MMClips>4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 Unicode MS</vt:lpstr>
      <vt:lpstr>Arial</vt:lpstr>
      <vt:lpstr>Courier New</vt:lpstr>
      <vt:lpstr>Gill Sans</vt:lpstr>
      <vt:lpstr>Times</vt:lpstr>
      <vt:lpstr>Verdana</vt:lpstr>
      <vt:lpstr>Wingdings</vt:lpstr>
      <vt:lpstr>blank</vt:lpstr>
      <vt:lpstr>think-cell Slide</vt:lpstr>
      <vt:lpstr>Delegation workshop – Vision 2020 – Wednesday 25/11/202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psys also played its role to increase Aid impact on citizens in a context of growing complexity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Template version: 24 February 2015</dc:description>
  <cp:lastModifiedBy/>
  <cp:revision>1</cp:revision>
  <dcterms:created xsi:type="dcterms:W3CDTF">2016-04-22T07:23:39Z</dcterms:created>
  <dcterms:modified xsi:type="dcterms:W3CDTF">2016-11-10T13:20:18Z</dcterms:modified>
  <cp:category>Presentation</cp:category>
</cp:coreProperties>
</file>